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4.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8"/>
  </p:notesMasterIdLst>
  <p:handoutMasterIdLst>
    <p:handoutMasterId r:id="rId19"/>
  </p:handoutMasterIdLst>
  <p:sldIdLst>
    <p:sldId id="259" r:id="rId12"/>
    <p:sldId id="322" r:id="rId13"/>
    <p:sldId id="546" r:id="rId14"/>
    <p:sldId id="330" r:id="rId15"/>
    <p:sldId id="4073" r:id="rId16"/>
    <p:sldId id="260" r:id="rId17"/>
  </p:sldIdLst>
  <p:sldSz cx="12192000" cy="6858000"/>
  <p:notesSz cx="6858000" cy="9144000"/>
  <p:custDataLst>
    <p:custData r:id="rId7"/>
    <p:custData r:id="rId3"/>
    <p:custData r:id="rId9"/>
    <p:custData r:id="rId5"/>
    <p:custData r:id="rId6"/>
    <p:custData r:id="rId4"/>
    <p:custData r:id="rId8"/>
    <p:tags r:id="rId20"/>
  </p:custDataLst>
  <p:defaultTextStyle>
    <a:defPPr>
      <a:defRPr lang="en-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9529FB-F7F1-4122-B7C4-D901D1AFE0D1}">
  <a:tblStyle styleId="{BF9529FB-F7F1-4122-B7C4-D901D1AFE0D1}" styleName="RBC Light Gray">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A949A42-8534-413A-A760-ABA5BDE51491}" styleName="RBC Tundra">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8377" autoAdjust="0"/>
  </p:normalViewPr>
  <p:slideViewPr>
    <p:cSldViewPr snapToGrid="0">
      <p:cViewPr varScale="1">
        <p:scale>
          <a:sx n="97" d="100"/>
          <a:sy n="97" d="100"/>
        </p:scale>
        <p:origin x="972" y="84"/>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87" d="100"/>
          <a:sy n="87" d="100"/>
        </p:scale>
        <p:origin x="3112"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maple.fg.rbc.com\data\Toronto\wrkgrp\wrkgrp30\Investment%20Products%20Advisory%20Group\Kaileigh\Fixed%20Income%20&amp;%20Currencies\Fixed%20Income%20Pools\best%20and%20worst%20performing%20portfolios.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US" sz="1400" b="1" dirty="0">
                <a:latin typeface="Arial" panose="020B0604020202020204" pitchFamily="34" charset="0"/>
                <a:cs typeface="Arial" panose="020B0604020202020204" pitchFamily="34" charset="0"/>
              </a:rPr>
              <a:t>Missing</a:t>
            </a:r>
            <a:r>
              <a:rPr lang="en-US" sz="1400" b="1" baseline="0" dirty="0">
                <a:latin typeface="Arial" panose="020B0604020202020204" pitchFamily="34" charset="0"/>
                <a:cs typeface="Arial" panose="020B0604020202020204" pitchFamily="34" charset="0"/>
              </a:rPr>
              <a:t> just 10 days in the market over the past 10 years would have reduced returns</a:t>
            </a:r>
            <a:endParaRPr lang="en-US" sz="1400" b="1" dirty="0">
              <a:latin typeface="Arial" panose="020B0604020202020204" pitchFamily="34" charset="0"/>
              <a:cs typeface="Arial" panose="020B0604020202020204" pitchFamily="34" charset="0"/>
            </a:endParaRPr>
          </a:p>
        </c:rich>
      </c:tx>
      <c:layout>
        <c:manualLayout>
          <c:xMode val="edge"/>
          <c:yMode val="edge"/>
          <c:x val="0.13720813320388589"/>
          <c:y val="3.132951290234836E-2"/>
        </c:manualLayout>
      </c:layout>
      <c:overlay val="0"/>
      <c:spPr>
        <a:noFill/>
        <a:ln>
          <a:noFill/>
        </a:ln>
        <a:effectLst/>
      </c:spPr>
    </c:title>
    <c:autoTitleDeleted val="0"/>
    <c:plotArea>
      <c:layout>
        <c:manualLayout>
          <c:layoutTarget val="inner"/>
          <c:xMode val="edge"/>
          <c:yMode val="edge"/>
          <c:x val="5.5775289278557919E-2"/>
          <c:y val="0.14010060868350846"/>
          <c:w val="0.88614930345245291"/>
          <c:h val="0.71190368809532611"/>
        </c:manualLayout>
      </c:layout>
      <c:barChart>
        <c:barDir val="bar"/>
        <c:grouping val="clustered"/>
        <c:varyColors val="0"/>
        <c:ser>
          <c:idx val="0"/>
          <c:order val="0"/>
          <c:tx>
            <c:strRef>
              <c:f>'Chart 2 (USD)'!$A$3</c:f>
              <c:strCache>
                <c:ptCount val="1"/>
                <c:pt idx="0">
                  <c:v>S&amp;P 500 TR USD</c:v>
                </c:pt>
              </c:strCache>
            </c:strRef>
          </c:tx>
          <c:spPr>
            <a:solidFill>
              <a:srgbClr val="002060"/>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E31C-4C15-B813-189ADEF4A463}"/>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E31C-4C15-B813-189ADEF4A463}"/>
              </c:ext>
            </c:extLst>
          </c:dPt>
          <c:dLbls>
            <c:dLbl>
              <c:idx val="0"/>
              <c:layout>
                <c:manualLayout>
                  <c:x val="-7.603639690709680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1C-4C15-B813-189ADEF4A463}"/>
                </c:ext>
              </c:extLst>
            </c:dLbl>
            <c:dLbl>
              <c:idx val="2"/>
              <c:layout>
                <c:manualLayout>
                  <c:x val="-7.0272266074202949E-2"/>
                  <c:y val="-6.1797750075301364E-3"/>
                </c:manualLayout>
              </c:layout>
              <c:numFmt formatCode="0.0&quot;%&quot;" sourceLinked="0"/>
              <c:spPr>
                <a:noFill/>
                <a:ln>
                  <a:noFill/>
                </a:ln>
                <a:effectLst/>
              </c:spPr>
              <c:txPr>
                <a:bodyPr rot="0" spcFirstLastPara="1" vertOverflow="ellipsis" vert="horz" wrap="square" lIns="36576" tIns="19050" rIns="36576"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31C-4C15-B813-189ADEF4A463}"/>
                </c:ext>
              </c:extLst>
            </c:dLbl>
            <c:dLbl>
              <c:idx val="3"/>
              <c:layout>
                <c:manualLayout>
                  <c:x val="-7.703426045565312E-2"/>
                  <c:y val="-2.8323641587388298E-17"/>
                </c:manualLayout>
              </c:layout>
              <c:numFmt formatCode="0.0&quot;%&quot;" sourceLinked="0"/>
              <c:spPr>
                <a:noFill/>
                <a:ln>
                  <a:noFill/>
                </a:ln>
                <a:effectLst/>
              </c:spPr>
              <c:txPr>
                <a:bodyPr rot="0" spcFirstLastPara="1" vertOverflow="ellipsis" vert="horz" wrap="square" lIns="36576" tIns="19050" rIns="36576"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31C-4C15-B813-189ADEF4A463}"/>
                </c:ext>
              </c:extLst>
            </c:dLbl>
            <c:numFmt formatCode="0.0&quot;%&quot;" sourceLinked="0"/>
            <c:spPr>
              <a:noFill/>
              <a:ln>
                <a:noFill/>
              </a:ln>
              <a:effectLst/>
            </c:spPr>
            <c:txPr>
              <a:bodyPr rot="0" spcFirstLastPara="1" vertOverflow="ellipsis" vert="horz" wrap="square" lIns="36576" tIns="19050" rIns="36576" bIns="19050" anchor="ctr" anchorCtr="1">
                <a:spAutoFit/>
              </a:bodyPr>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Chart 2 (USD)'!$B$2:$E$2</c:f>
              <c:strCache>
                <c:ptCount val="4"/>
                <c:pt idx="0">
                  <c:v>Missing the 50 best trading days</c:v>
                </c:pt>
                <c:pt idx="1">
                  <c:v>Missing the 30 best trading days</c:v>
                </c:pt>
                <c:pt idx="2">
                  <c:v>Missing the 10 best trading days</c:v>
                </c:pt>
                <c:pt idx="3">
                  <c:v>Fully Invested</c:v>
                </c:pt>
              </c:strCache>
            </c:strRef>
          </c:cat>
          <c:val>
            <c:numRef>
              <c:f>'Chart 2 (USD)'!$B$3:$E$3</c:f>
              <c:numCache>
                <c:formatCode>#,##0.00</c:formatCode>
                <c:ptCount val="4"/>
                <c:pt idx="0">
                  <c:v>-5.0664672836724201</c:v>
                </c:pt>
                <c:pt idx="1">
                  <c:v>-0.48918773447895703</c:v>
                </c:pt>
                <c:pt idx="2">
                  <c:v>5.4793251608704603</c:v>
                </c:pt>
                <c:pt idx="3">
                  <c:v>12.034462661065801</c:v>
                </c:pt>
              </c:numCache>
            </c:numRef>
          </c:val>
          <c:extLst>
            <c:ext xmlns:c16="http://schemas.microsoft.com/office/drawing/2014/chart" uri="{C3380CC4-5D6E-409C-BE32-E72D297353CC}">
              <c16:uniqueId val="{00000006-E31C-4C15-B813-189ADEF4A463}"/>
            </c:ext>
          </c:extLst>
        </c:ser>
        <c:dLbls>
          <c:showLegendKey val="0"/>
          <c:showVal val="0"/>
          <c:showCatName val="0"/>
          <c:showSerName val="0"/>
          <c:showPercent val="0"/>
          <c:showBubbleSize val="0"/>
        </c:dLbls>
        <c:gapWidth val="50"/>
        <c:axId val="344877144"/>
        <c:axId val="344876752"/>
      </c:barChart>
      <c:catAx>
        <c:axId val="344877144"/>
        <c:scaling>
          <c:orientation val="minMax"/>
        </c:scaling>
        <c:delete val="1"/>
        <c:axPos val="l"/>
        <c:numFmt formatCode="General" sourceLinked="1"/>
        <c:majorTickMark val="out"/>
        <c:minorTickMark val="none"/>
        <c:tickLblPos val="nextTo"/>
        <c:crossAx val="344876752"/>
        <c:crosses val="autoZero"/>
        <c:auto val="1"/>
        <c:lblAlgn val="ctr"/>
        <c:lblOffset val="1"/>
        <c:noMultiLvlLbl val="0"/>
      </c:catAx>
      <c:valAx>
        <c:axId val="344876752"/>
        <c:scaling>
          <c:orientation val="minMax"/>
        </c:scaling>
        <c:delete val="0"/>
        <c:axPos val="b"/>
        <c:title>
          <c:tx>
            <c:rich>
              <a:bodyPr/>
              <a:lstStyle/>
              <a:p>
                <a:pPr>
                  <a:defRPr/>
                </a:pPr>
                <a:r>
                  <a:rPr lang="en-US" dirty="0"/>
                  <a:t>Annualized return</a:t>
                </a:r>
              </a:p>
            </c:rich>
          </c:tx>
          <c:overlay val="0"/>
        </c:title>
        <c:numFmt formatCode="0&quot;%&quot;" sourceLinked="0"/>
        <c:majorTickMark val="none"/>
        <c:minorTickMark val="none"/>
        <c:tickLblPos val="nextTo"/>
        <c:spPr>
          <a:ln>
            <a:noFill/>
          </a:ln>
        </c:spPr>
        <c:crossAx val="34487714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400">
          <a:solidFill>
            <a:sysClr val="windowText" lastClr="000000"/>
          </a:solidFill>
          <a:latin typeface="+mj-lt"/>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712768483401675E-2"/>
          <c:y val="0.18283209334045383"/>
          <c:w val="0.85862749607208022"/>
          <c:h val="0.6138528203060436"/>
        </c:manualLayout>
      </c:layout>
      <c:barChart>
        <c:barDir val="col"/>
        <c:grouping val="clustered"/>
        <c:varyColors val="0"/>
        <c:ser>
          <c:idx val="0"/>
          <c:order val="0"/>
          <c:tx>
            <c:strRef>
              <c:f>'Chart 1 (USD)'!$B$1</c:f>
              <c:strCache>
                <c:ptCount val="1"/>
                <c:pt idx="0">
                  <c:v>Max</c:v>
                </c:pt>
              </c:strCache>
            </c:strRef>
          </c:tx>
          <c:spPr>
            <a:solidFill>
              <a:schemeClr val="accent1"/>
            </a:solidFill>
            <a:ln>
              <a:noFill/>
            </a:ln>
            <a:effectLst/>
          </c:spPr>
          <c:invertIfNegative val="0"/>
          <c:dLbls>
            <c:dLbl>
              <c:idx val="0"/>
              <c:layout>
                <c:manualLayout>
                  <c:x val="0"/>
                  <c:y val="9.11476493834615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12-46CD-9BFD-336883A8ABA0}"/>
                </c:ext>
              </c:extLst>
            </c:dLbl>
            <c:numFmt formatCode="0.0&quot;%&quot;" sourceLinked="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1 (USD)'!$A$2:$A$7</c:f>
              <c:strCache>
                <c:ptCount val="6"/>
                <c:pt idx="0">
                  <c:v>1 year</c:v>
                </c:pt>
                <c:pt idx="1">
                  <c:v>3 years</c:v>
                </c:pt>
                <c:pt idx="2">
                  <c:v>5 years</c:v>
                </c:pt>
                <c:pt idx="3">
                  <c:v>10 years</c:v>
                </c:pt>
                <c:pt idx="4">
                  <c:v>20 years</c:v>
                </c:pt>
                <c:pt idx="5">
                  <c:v>30 years</c:v>
                </c:pt>
              </c:strCache>
            </c:strRef>
          </c:cat>
          <c:val>
            <c:numRef>
              <c:f>'Chart 1 (USD)'!$B$2:$B$7</c:f>
              <c:numCache>
                <c:formatCode>0.0</c:formatCode>
                <c:ptCount val="6"/>
                <c:pt idx="0">
                  <c:v>48.7890696195579</c:v>
                </c:pt>
                <c:pt idx="1">
                  <c:v>23.093706071353299</c:v>
                </c:pt>
                <c:pt idx="2">
                  <c:v>20.771120723522301</c:v>
                </c:pt>
                <c:pt idx="3">
                  <c:v>12.396690213813599</c:v>
                </c:pt>
                <c:pt idx="4">
                  <c:v>11.2195834075001</c:v>
                </c:pt>
                <c:pt idx="5">
                  <c:v>8.7539426964270994</c:v>
                </c:pt>
              </c:numCache>
            </c:numRef>
          </c:val>
          <c:extLst>
            <c:ext xmlns:c16="http://schemas.microsoft.com/office/drawing/2014/chart" uri="{C3380CC4-5D6E-409C-BE32-E72D297353CC}">
              <c16:uniqueId val="{00000000-8D12-46CD-9BFD-336883A8ABA0}"/>
            </c:ext>
          </c:extLst>
        </c:ser>
        <c:ser>
          <c:idx val="1"/>
          <c:order val="1"/>
          <c:tx>
            <c:strRef>
              <c:f>'Chart 1 (USD)'!$C$1</c:f>
              <c:strCache>
                <c:ptCount val="1"/>
                <c:pt idx="0">
                  <c:v>Min</c:v>
                </c:pt>
              </c:strCache>
            </c:strRef>
          </c:tx>
          <c:spPr>
            <a:solidFill>
              <a:srgbClr val="FFFFFF"/>
            </a:solidFill>
            <a:ln>
              <a:noFill/>
            </a:ln>
            <a:effectLst/>
          </c:spPr>
          <c:invertIfNegative val="1"/>
          <c:dLbls>
            <c:dLbl>
              <c:idx val="0"/>
              <c:layout>
                <c:manualLayout>
                  <c:x val="-2.1046893018193641E-17"/>
                  <c:y val="9.11476493834615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12-46CD-9BFD-336883A8ABA0}"/>
                </c:ext>
              </c:extLst>
            </c:dLbl>
            <c:dLbl>
              <c:idx val="3"/>
              <c:layout>
                <c:manualLayout>
                  <c:x val="1.1462691826342566E-3"/>
                  <c:y val="5.444855269909786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D12-46CD-9BFD-336883A8ABA0}"/>
                </c:ext>
              </c:extLst>
            </c:dLbl>
            <c:dLbl>
              <c:idx val="4"/>
              <c:layout>
                <c:manualLayout>
                  <c:x val="0"/>
                  <c:y val="4.740744336528546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12-46CD-9BFD-336883A8ABA0}"/>
                </c:ext>
              </c:extLst>
            </c:dLbl>
            <c:dLbl>
              <c:idx val="5"/>
              <c:layout>
                <c:manualLayout>
                  <c:x val="-1.6837039551720005E-16"/>
                  <c:y val="4.7092446301129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12-46CD-9BFD-336883A8ABA0}"/>
                </c:ext>
              </c:extLst>
            </c:dLbl>
            <c:numFmt formatCode="0.0&quot;%&quot;" sourceLinked="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rt 1 (USD)'!$A$2:$A$7</c:f>
              <c:strCache>
                <c:ptCount val="6"/>
                <c:pt idx="0">
                  <c:v>1 year</c:v>
                </c:pt>
                <c:pt idx="1">
                  <c:v>3 years</c:v>
                </c:pt>
                <c:pt idx="2">
                  <c:v>5 years</c:v>
                </c:pt>
                <c:pt idx="3">
                  <c:v>10 years</c:v>
                </c:pt>
                <c:pt idx="4">
                  <c:v>20 years</c:v>
                </c:pt>
                <c:pt idx="5">
                  <c:v>30 years</c:v>
                </c:pt>
              </c:strCache>
            </c:strRef>
          </c:cat>
          <c:val>
            <c:numRef>
              <c:f>'Chart 1 (USD)'!$C$2:$C$7</c:f>
              <c:numCache>
                <c:formatCode>0.0</c:formatCode>
                <c:ptCount val="6"/>
                <c:pt idx="0">
                  <c:v>-37.965470706933303</c:v>
                </c:pt>
                <c:pt idx="1">
                  <c:v>-7.9612033595974303</c:v>
                </c:pt>
                <c:pt idx="2">
                  <c:v>-0.29247294497799498</c:v>
                </c:pt>
                <c:pt idx="3">
                  <c:v>3.1532242693870201</c:v>
                </c:pt>
                <c:pt idx="4">
                  <c:v>4.9540757481702604</c:v>
                </c:pt>
                <c:pt idx="5">
                  <c:v>6.7413539449580897</c:v>
                </c:pt>
              </c:numCache>
            </c:numRef>
          </c:val>
          <c:extLst>
            <c:ext xmlns:c14="http://schemas.microsoft.com/office/drawing/2007/8/2/chart" uri="{6F2FDCE9-48DA-4B69-8628-5D25D57E5C99}">
              <c14:invertSolidFillFmt>
                <c14:spPr xmlns:c14="http://schemas.microsoft.com/office/drawing/2007/8/2/chart">
                  <a:solidFill>
                    <a:srgbClr val="003168"/>
                  </a:solidFill>
                  <a:ln>
                    <a:noFill/>
                  </a:ln>
                  <a:effectLst/>
                </c14:spPr>
              </c14:invertSolidFillFmt>
            </c:ext>
            <c:ext xmlns:c16="http://schemas.microsoft.com/office/drawing/2014/chart" uri="{C3380CC4-5D6E-409C-BE32-E72D297353CC}">
              <c16:uniqueId val="{00000004-8D12-46CD-9BFD-336883A8ABA0}"/>
            </c:ext>
          </c:extLst>
        </c:ser>
        <c:dLbls>
          <c:showLegendKey val="0"/>
          <c:showVal val="0"/>
          <c:showCatName val="0"/>
          <c:showSerName val="0"/>
          <c:showPercent val="0"/>
          <c:showBubbleSize val="0"/>
        </c:dLbls>
        <c:gapWidth val="50"/>
        <c:overlap val="100"/>
        <c:axId val="2107378223"/>
        <c:axId val="2107379055"/>
      </c:barChart>
      <c:catAx>
        <c:axId val="2107378223"/>
        <c:scaling>
          <c:orientation val="minMax"/>
        </c:scaling>
        <c:delete val="0"/>
        <c:axPos val="b"/>
        <c:title>
          <c:tx>
            <c:rich>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US" dirty="0"/>
                  <a:t>Holding period</a:t>
                </a:r>
              </a:p>
            </c:rich>
          </c:tx>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crossAx val="2107379055"/>
        <c:crosses val="autoZero"/>
        <c:auto val="1"/>
        <c:lblAlgn val="ctr"/>
        <c:lblOffset val="100"/>
        <c:noMultiLvlLbl val="0"/>
      </c:catAx>
      <c:valAx>
        <c:axId val="2107379055"/>
        <c:scaling>
          <c:orientation val="minMax"/>
        </c:scaling>
        <c:delete val="0"/>
        <c:axPos val="l"/>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US" dirty="0"/>
                  <a:t>Annualized</a:t>
                </a:r>
                <a:r>
                  <a:rPr lang="en-US" baseline="0" dirty="0"/>
                  <a:t> r</a:t>
                </a:r>
                <a:r>
                  <a:rPr lang="en-US" dirty="0"/>
                  <a:t>eturn</a:t>
                </a:r>
                <a:r>
                  <a:rPr lang="en-US" baseline="0" dirty="0"/>
                  <a:t> range</a:t>
                </a:r>
                <a:endParaRPr lang="en-US" dirty="0"/>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21073782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implified!$B$11</c:f>
              <c:strCache>
                <c:ptCount val="1"/>
                <c:pt idx="0">
                  <c:v>Best performing asset class portfolio</c:v>
                </c:pt>
              </c:strCache>
            </c:strRef>
          </c:tx>
          <c:spPr>
            <a:ln w="28575" cap="rnd">
              <a:solidFill>
                <a:schemeClr val="accent1">
                  <a:lumMod val="60000"/>
                  <a:lumOff val="40000"/>
                </a:schemeClr>
              </a:solidFill>
              <a:round/>
            </a:ln>
            <a:effectLst/>
          </c:spPr>
          <c:marker>
            <c:symbol val="none"/>
          </c:marker>
          <c:cat>
            <c:numRef>
              <c:f>simplified!$A$11:$A$167</c:f>
              <c:numCache>
                <c:formatCode>m/d/yyyy</c:formatCode>
                <c:ptCount val="157"/>
                <c:pt idx="0">
                  <c:v>40543</c:v>
                </c:pt>
                <c:pt idx="1">
                  <c:v>40574</c:v>
                </c:pt>
                <c:pt idx="2">
                  <c:v>40602</c:v>
                </c:pt>
                <c:pt idx="3">
                  <c:v>40633</c:v>
                </c:pt>
                <c:pt idx="4">
                  <c:v>40663</c:v>
                </c:pt>
                <c:pt idx="5">
                  <c:v>40694</c:v>
                </c:pt>
                <c:pt idx="6">
                  <c:v>40724</c:v>
                </c:pt>
                <c:pt idx="7">
                  <c:v>40755</c:v>
                </c:pt>
                <c:pt idx="8">
                  <c:v>40786</c:v>
                </c:pt>
                <c:pt idx="9">
                  <c:v>40816</c:v>
                </c:pt>
                <c:pt idx="10">
                  <c:v>40847</c:v>
                </c:pt>
                <c:pt idx="11">
                  <c:v>40877</c:v>
                </c:pt>
                <c:pt idx="12">
                  <c:v>40908</c:v>
                </c:pt>
                <c:pt idx="13">
                  <c:v>40939</c:v>
                </c:pt>
                <c:pt idx="14">
                  <c:v>40968</c:v>
                </c:pt>
                <c:pt idx="15">
                  <c:v>40999</c:v>
                </c:pt>
                <c:pt idx="16">
                  <c:v>41029</c:v>
                </c:pt>
                <c:pt idx="17">
                  <c:v>41060</c:v>
                </c:pt>
                <c:pt idx="18">
                  <c:v>41090</c:v>
                </c:pt>
                <c:pt idx="19">
                  <c:v>41121</c:v>
                </c:pt>
                <c:pt idx="20">
                  <c:v>41152</c:v>
                </c:pt>
                <c:pt idx="21">
                  <c:v>41182</c:v>
                </c:pt>
                <c:pt idx="22">
                  <c:v>41213</c:v>
                </c:pt>
                <c:pt idx="23">
                  <c:v>41243</c:v>
                </c:pt>
                <c:pt idx="24">
                  <c:v>41274</c:v>
                </c:pt>
                <c:pt idx="25">
                  <c:v>41305</c:v>
                </c:pt>
                <c:pt idx="26">
                  <c:v>41333</c:v>
                </c:pt>
                <c:pt idx="27">
                  <c:v>41364</c:v>
                </c:pt>
                <c:pt idx="28">
                  <c:v>41394</c:v>
                </c:pt>
                <c:pt idx="29">
                  <c:v>41425</c:v>
                </c:pt>
                <c:pt idx="30">
                  <c:v>41455</c:v>
                </c:pt>
                <c:pt idx="31">
                  <c:v>41486</c:v>
                </c:pt>
                <c:pt idx="32">
                  <c:v>41517</c:v>
                </c:pt>
                <c:pt idx="33">
                  <c:v>41547</c:v>
                </c:pt>
                <c:pt idx="34">
                  <c:v>41578</c:v>
                </c:pt>
                <c:pt idx="35">
                  <c:v>41608</c:v>
                </c:pt>
                <c:pt idx="36">
                  <c:v>41639</c:v>
                </c:pt>
                <c:pt idx="37">
                  <c:v>41670</c:v>
                </c:pt>
                <c:pt idx="38">
                  <c:v>41698</c:v>
                </c:pt>
                <c:pt idx="39">
                  <c:v>41729</c:v>
                </c:pt>
                <c:pt idx="40">
                  <c:v>41759</c:v>
                </c:pt>
                <c:pt idx="41">
                  <c:v>41790</c:v>
                </c:pt>
                <c:pt idx="42">
                  <c:v>41820</c:v>
                </c:pt>
                <c:pt idx="43">
                  <c:v>41851</c:v>
                </c:pt>
                <c:pt idx="44">
                  <c:v>41882</c:v>
                </c:pt>
                <c:pt idx="45">
                  <c:v>41912</c:v>
                </c:pt>
                <c:pt idx="46">
                  <c:v>41943</c:v>
                </c:pt>
                <c:pt idx="47">
                  <c:v>41973</c:v>
                </c:pt>
                <c:pt idx="48">
                  <c:v>42004</c:v>
                </c:pt>
                <c:pt idx="49">
                  <c:v>42035</c:v>
                </c:pt>
                <c:pt idx="50">
                  <c:v>42063</c:v>
                </c:pt>
                <c:pt idx="51">
                  <c:v>42094</c:v>
                </c:pt>
                <c:pt idx="52">
                  <c:v>42124</c:v>
                </c:pt>
                <c:pt idx="53">
                  <c:v>42155</c:v>
                </c:pt>
                <c:pt idx="54">
                  <c:v>42185</c:v>
                </c:pt>
                <c:pt idx="55">
                  <c:v>42216</c:v>
                </c:pt>
                <c:pt idx="56">
                  <c:v>42247</c:v>
                </c:pt>
                <c:pt idx="57">
                  <c:v>42277</c:v>
                </c:pt>
                <c:pt idx="58">
                  <c:v>42308</c:v>
                </c:pt>
                <c:pt idx="59">
                  <c:v>42338</c:v>
                </c:pt>
                <c:pt idx="60">
                  <c:v>42369</c:v>
                </c:pt>
                <c:pt idx="61">
                  <c:v>42400</c:v>
                </c:pt>
                <c:pt idx="62">
                  <c:v>42429</c:v>
                </c:pt>
                <c:pt idx="63">
                  <c:v>42460</c:v>
                </c:pt>
                <c:pt idx="64">
                  <c:v>42490</c:v>
                </c:pt>
                <c:pt idx="65">
                  <c:v>42521</c:v>
                </c:pt>
                <c:pt idx="66">
                  <c:v>42551</c:v>
                </c:pt>
                <c:pt idx="67">
                  <c:v>42582</c:v>
                </c:pt>
                <c:pt idx="68">
                  <c:v>42613</c:v>
                </c:pt>
                <c:pt idx="69">
                  <c:v>42643</c:v>
                </c:pt>
                <c:pt idx="70">
                  <c:v>42674</c:v>
                </c:pt>
                <c:pt idx="71">
                  <c:v>42704</c:v>
                </c:pt>
                <c:pt idx="72">
                  <c:v>42735</c:v>
                </c:pt>
                <c:pt idx="73">
                  <c:v>42766</c:v>
                </c:pt>
                <c:pt idx="74">
                  <c:v>42794</c:v>
                </c:pt>
                <c:pt idx="75">
                  <c:v>42825</c:v>
                </c:pt>
                <c:pt idx="76">
                  <c:v>42855</c:v>
                </c:pt>
                <c:pt idx="77">
                  <c:v>42886</c:v>
                </c:pt>
                <c:pt idx="78">
                  <c:v>42916</c:v>
                </c:pt>
                <c:pt idx="79">
                  <c:v>42947</c:v>
                </c:pt>
                <c:pt idx="80">
                  <c:v>42978</c:v>
                </c:pt>
                <c:pt idx="81">
                  <c:v>43008</c:v>
                </c:pt>
                <c:pt idx="82">
                  <c:v>43039</c:v>
                </c:pt>
                <c:pt idx="83">
                  <c:v>43069</c:v>
                </c:pt>
                <c:pt idx="84">
                  <c:v>43100</c:v>
                </c:pt>
                <c:pt idx="85">
                  <c:v>43131</c:v>
                </c:pt>
                <c:pt idx="86">
                  <c:v>43159</c:v>
                </c:pt>
                <c:pt idx="87">
                  <c:v>43190</c:v>
                </c:pt>
                <c:pt idx="88">
                  <c:v>43220</c:v>
                </c:pt>
                <c:pt idx="89">
                  <c:v>43251</c:v>
                </c:pt>
                <c:pt idx="90">
                  <c:v>43281</c:v>
                </c:pt>
                <c:pt idx="91">
                  <c:v>43312</c:v>
                </c:pt>
                <c:pt idx="92">
                  <c:v>43343</c:v>
                </c:pt>
                <c:pt idx="93">
                  <c:v>43373</c:v>
                </c:pt>
                <c:pt idx="94">
                  <c:v>43404</c:v>
                </c:pt>
                <c:pt idx="95">
                  <c:v>43434</c:v>
                </c:pt>
                <c:pt idx="96">
                  <c:v>43465</c:v>
                </c:pt>
                <c:pt idx="97">
                  <c:v>43496</c:v>
                </c:pt>
                <c:pt idx="98">
                  <c:v>43524</c:v>
                </c:pt>
                <c:pt idx="99">
                  <c:v>43555</c:v>
                </c:pt>
                <c:pt idx="100">
                  <c:v>43585</c:v>
                </c:pt>
                <c:pt idx="101">
                  <c:v>43616</c:v>
                </c:pt>
                <c:pt idx="102">
                  <c:v>43646</c:v>
                </c:pt>
                <c:pt idx="103">
                  <c:v>43677</c:v>
                </c:pt>
                <c:pt idx="104">
                  <c:v>43708</c:v>
                </c:pt>
                <c:pt idx="105">
                  <c:v>43738</c:v>
                </c:pt>
                <c:pt idx="106">
                  <c:v>43769</c:v>
                </c:pt>
                <c:pt idx="107">
                  <c:v>43799</c:v>
                </c:pt>
                <c:pt idx="108">
                  <c:v>43830</c:v>
                </c:pt>
                <c:pt idx="109">
                  <c:v>43861</c:v>
                </c:pt>
                <c:pt idx="110">
                  <c:v>43890</c:v>
                </c:pt>
                <c:pt idx="111">
                  <c:v>43921</c:v>
                </c:pt>
                <c:pt idx="112">
                  <c:v>43951</c:v>
                </c:pt>
                <c:pt idx="113">
                  <c:v>43982</c:v>
                </c:pt>
                <c:pt idx="114">
                  <c:v>44012</c:v>
                </c:pt>
                <c:pt idx="115">
                  <c:v>44043</c:v>
                </c:pt>
                <c:pt idx="116">
                  <c:v>44074</c:v>
                </c:pt>
                <c:pt idx="117">
                  <c:v>44104</c:v>
                </c:pt>
                <c:pt idx="118">
                  <c:v>44135</c:v>
                </c:pt>
                <c:pt idx="119">
                  <c:v>44165</c:v>
                </c:pt>
                <c:pt idx="120">
                  <c:v>44196</c:v>
                </c:pt>
                <c:pt idx="121">
                  <c:v>44227</c:v>
                </c:pt>
                <c:pt idx="122">
                  <c:v>44255</c:v>
                </c:pt>
                <c:pt idx="123">
                  <c:v>44286</c:v>
                </c:pt>
                <c:pt idx="124">
                  <c:v>44316</c:v>
                </c:pt>
                <c:pt idx="125">
                  <c:v>44347</c:v>
                </c:pt>
                <c:pt idx="126">
                  <c:v>44377</c:v>
                </c:pt>
                <c:pt idx="127">
                  <c:v>44408</c:v>
                </c:pt>
                <c:pt idx="128">
                  <c:v>44439</c:v>
                </c:pt>
                <c:pt idx="129">
                  <c:v>44469</c:v>
                </c:pt>
                <c:pt idx="130">
                  <c:v>44500</c:v>
                </c:pt>
                <c:pt idx="131">
                  <c:v>44530</c:v>
                </c:pt>
                <c:pt idx="132">
                  <c:v>44561</c:v>
                </c:pt>
                <c:pt idx="133">
                  <c:v>44592</c:v>
                </c:pt>
                <c:pt idx="134">
                  <c:v>44620</c:v>
                </c:pt>
                <c:pt idx="135">
                  <c:v>44651</c:v>
                </c:pt>
                <c:pt idx="136">
                  <c:v>44681</c:v>
                </c:pt>
                <c:pt idx="137">
                  <c:v>44712</c:v>
                </c:pt>
                <c:pt idx="138">
                  <c:v>44742</c:v>
                </c:pt>
                <c:pt idx="139">
                  <c:v>44773</c:v>
                </c:pt>
                <c:pt idx="140">
                  <c:v>44804</c:v>
                </c:pt>
                <c:pt idx="141">
                  <c:v>44834</c:v>
                </c:pt>
                <c:pt idx="142">
                  <c:v>44865</c:v>
                </c:pt>
                <c:pt idx="143">
                  <c:v>44895</c:v>
                </c:pt>
                <c:pt idx="144">
                  <c:v>44926</c:v>
                </c:pt>
                <c:pt idx="145">
                  <c:v>44957</c:v>
                </c:pt>
                <c:pt idx="146">
                  <c:v>44985</c:v>
                </c:pt>
                <c:pt idx="147">
                  <c:v>45016</c:v>
                </c:pt>
                <c:pt idx="148">
                  <c:v>45046</c:v>
                </c:pt>
                <c:pt idx="149">
                  <c:v>45077</c:v>
                </c:pt>
                <c:pt idx="150">
                  <c:v>45107</c:v>
                </c:pt>
                <c:pt idx="151">
                  <c:v>45138</c:v>
                </c:pt>
                <c:pt idx="152">
                  <c:v>45169</c:v>
                </c:pt>
                <c:pt idx="153">
                  <c:v>45199</c:v>
                </c:pt>
                <c:pt idx="154">
                  <c:v>45230</c:v>
                </c:pt>
                <c:pt idx="155">
                  <c:v>45260</c:v>
                </c:pt>
                <c:pt idx="156">
                  <c:v>45291</c:v>
                </c:pt>
              </c:numCache>
            </c:numRef>
          </c:cat>
          <c:val>
            <c:numRef>
              <c:f>simplified!$C$11:$C$167</c:f>
              <c:numCache>
                <c:formatCode>#,##0.00</c:formatCode>
                <c:ptCount val="157"/>
                <c:pt idx="0" formatCode="#,##0">
                  <c:v>100000</c:v>
                </c:pt>
                <c:pt idx="1">
                  <c:v>101992.99999861087</c:v>
                </c:pt>
                <c:pt idx="2">
                  <c:v>103289.33102798884</c:v>
                </c:pt>
                <c:pt idx="3">
                  <c:v>103804.74478980334</c:v>
                </c:pt>
                <c:pt idx="4">
                  <c:v>105308.87554139933</c:v>
                </c:pt>
                <c:pt idx="5">
                  <c:v>106015.49809751305</c:v>
                </c:pt>
                <c:pt idx="6">
                  <c:v>105185.39674596075</c:v>
                </c:pt>
                <c:pt idx="7">
                  <c:v>106687.44421301926</c:v>
                </c:pt>
                <c:pt idx="8">
                  <c:v>103087.80984392983</c:v>
                </c:pt>
                <c:pt idx="9">
                  <c:v>99850.852615249154</c:v>
                </c:pt>
                <c:pt idx="10">
                  <c:v>104993.17152468399</c:v>
                </c:pt>
                <c:pt idx="11">
                  <c:v>103130.59266177283</c:v>
                </c:pt>
                <c:pt idx="12">
                  <c:v>105658.32348701679</c:v>
                </c:pt>
                <c:pt idx="13">
                  <c:v>106194.59230787515</c:v>
                </c:pt>
                <c:pt idx="14">
                  <c:v>105770.96084024057</c:v>
                </c:pt>
                <c:pt idx="15">
                  <c:v>105434.26014059783</c:v>
                </c:pt>
                <c:pt idx="16">
                  <c:v>105568.94186450144</c:v>
                </c:pt>
                <c:pt idx="17">
                  <c:v>107794.82077613771</c:v>
                </c:pt>
                <c:pt idx="18">
                  <c:v>107805.83740682103</c:v>
                </c:pt>
                <c:pt idx="19">
                  <c:v>108519.64141745908</c:v>
                </c:pt>
                <c:pt idx="20">
                  <c:v>108408.22430161576</c:v>
                </c:pt>
                <c:pt idx="21">
                  <c:v>109137.94174103478</c:v>
                </c:pt>
                <c:pt idx="22">
                  <c:v>108931.02711728796</c:v>
                </c:pt>
                <c:pt idx="23">
                  <c:v>109608.61078526563</c:v>
                </c:pt>
                <c:pt idx="24">
                  <c:v>109462.00926834033</c:v>
                </c:pt>
                <c:pt idx="25">
                  <c:v>110685.79453343744</c:v>
                </c:pt>
                <c:pt idx="26">
                  <c:v>111260.25380770251</c:v>
                </c:pt>
                <c:pt idx="27">
                  <c:v>112306.10019074311</c:v>
                </c:pt>
                <c:pt idx="28">
                  <c:v>114378.14774209466</c:v>
                </c:pt>
                <c:pt idx="29">
                  <c:v>113639.26490753652</c:v>
                </c:pt>
                <c:pt idx="30">
                  <c:v>110657.37059491912</c:v>
                </c:pt>
                <c:pt idx="31">
                  <c:v>112656.94928351854</c:v>
                </c:pt>
                <c:pt idx="32">
                  <c:v>111940.45108325237</c:v>
                </c:pt>
                <c:pt idx="33">
                  <c:v>113111.34820355453</c:v>
                </c:pt>
                <c:pt idx="34">
                  <c:v>116069.20995821054</c:v>
                </c:pt>
                <c:pt idx="35">
                  <c:v>116590.36071173807</c:v>
                </c:pt>
                <c:pt idx="36">
                  <c:v>117217.61685109313</c:v>
                </c:pt>
                <c:pt idx="37">
                  <c:v>118177.6291336679</c:v>
                </c:pt>
                <c:pt idx="38">
                  <c:v>120672.35888435175</c:v>
                </c:pt>
                <c:pt idx="39">
                  <c:v>120996.96752853248</c:v>
                </c:pt>
                <c:pt idx="40">
                  <c:v>121910.494635118</c:v>
                </c:pt>
                <c:pt idx="41">
                  <c:v>123203.9649810344</c:v>
                </c:pt>
                <c:pt idx="42">
                  <c:v>124242.57440841463</c:v>
                </c:pt>
                <c:pt idx="43">
                  <c:v>122715.63316611448</c:v>
                </c:pt>
                <c:pt idx="44">
                  <c:v>124825.11490129214</c:v>
                </c:pt>
                <c:pt idx="45">
                  <c:v>122420.98319037764</c:v>
                </c:pt>
                <c:pt idx="46">
                  <c:v>124351.56209494465</c:v>
                </c:pt>
                <c:pt idx="47">
                  <c:v>123589.28701818672</c:v>
                </c:pt>
                <c:pt idx="48">
                  <c:v>122214.97414795693</c:v>
                </c:pt>
                <c:pt idx="49">
                  <c:v>127869.50657835786</c:v>
                </c:pt>
                <c:pt idx="50">
                  <c:v>127697.94406138168</c:v>
                </c:pt>
                <c:pt idx="51">
                  <c:v>127292.87341302457</c:v>
                </c:pt>
                <c:pt idx="52">
                  <c:v>125558.76259851894</c:v>
                </c:pt>
                <c:pt idx="53">
                  <c:v>125810.83437031173</c:v>
                </c:pt>
                <c:pt idx="54">
                  <c:v>125112.32003680433</c:v>
                </c:pt>
                <c:pt idx="55">
                  <c:v>126909.57102536503</c:v>
                </c:pt>
                <c:pt idx="56">
                  <c:v>125634.5740200587</c:v>
                </c:pt>
                <c:pt idx="57">
                  <c:v>125294.89582228067</c:v>
                </c:pt>
                <c:pt idx="58">
                  <c:v>124972.78770410075</c:v>
                </c:pt>
                <c:pt idx="59">
                  <c:v>125099.08520335452</c:v>
                </c:pt>
                <c:pt idx="60">
                  <c:v>126517.29600257939</c:v>
                </c:pt>
                <c:pt idx="61">
                  <c:v>127010.29594991264</c:v>
                </c:pt>
                <c:pt idx="62">
                  <c:v>127282.11068427506</c:v>
                </c:pt>
                <c:pt idx="63">
                  <c:v>128281.17342745805</c:v>
                </c:pt>
                <c:pt idx="64">
                  <c:v>128179.67736304225</c:v>
                </c:pt>
                <c:pt idx="65">
                  <c:v>129345.25362320761</c:v>
                </c:pt>
                <c:pt idx="66">
                  <c:v>131637.27738646159</c:v>
                </c:pt>
                <c:pt idx="67">
                  <c:v>132748.20386150916</c:v>
                </c:pt>
                <c:pt idx="68">
                  <c:v>132868.38081046499</c:v>
                </c:pt>
                <c:pt idx="69">
                  <c:v>133198.63845780748</c:v>
                </c:pt>
                <c:pt idx="70">
                  <c:v>131989.98069257749</c:v>
                </c:pt>
                <c:pt idx="71">
                  <c:v>129263.09408946498</c:v>
                </c:pt>
                <c:pt idx="72">
                  <c:v>128621.54842718955</c:v>
                </c:pt>
                <c:pt idx="73">
                  <c:v>130005.51628747585</c:v>
                </c:pt>
                <c:pt idx="74">
                  <c:v>131665.68673251726</c:v>
                </c:pt>
                <c:pt idx="75">
                  <c:v>131443.17172109935</c:v>
                </c:pt>
                <c:pt idx="76">
                  <c:v>133041.52068739725</c:v>
                </c:pt>
                <c:pt idx="77">
                  <c:v>134075.25330652503</c:v>
                </c:pt>
                <c:pt idx="78">
                  <c:v>134190.55802161738</c:v>
                </c:pt>
                <c:pt idx="79">
                  <c:v>135457.31689214404</c:v>
                </c:pt>
                <c:pt idx="80">
                  <c:v>135530.46384355746</c:v>
                </c:pt>
                <c:pt idx="81">
                  <c:v>136542.87640842568</c:v>
                </c:pt>
                <c:pt idx="82">
                  <c:v>137121.81820107476</c:v>
                </c:pt>
                <c:pt idx="83">
                  <c:v>136715.93761989643</c:v>
                </c:pt>
                <c:pt idx="84">
                  <c:v>136903.23845683254</c:v>
                </c:pt>
                <c:pt idx="85">
                  <c:v>137416.625600147</c:v>
                </c:pt>
                <c:pt idx="86">
                  <c:v>135957.26103516313</c:v>
                </c:pt>
                <c:pt idx="87">
                  <c:v>135106.16858187984</c:v>
                </c:pt>
                <c:pt idx="88">
                  <c:v>135785.75260983137</c:v>
                </c:pt>
                <c:pt idx="89">
                  <c:v>135518.25467807672</c:v>
                </c:pt>
                <c:pt idx="90">
                  <c:v>135707.98023279416</c:v>
                </c:pt>
                <c:pt idx="91">
                  <c:v>137081.34499274456</c:v>
                </c:pt>
                <c:pt idx="92">
                  <c:v>138080.66799716512</c:v>
                </c:pt>
                <c:pt idx="93">
                  <c:v>138688.22293624614</c:v>
                </c:pt>
                <c:pt idx="94">
                  <c:v>136524.68665837072</c:v>
                </c:pt>
                <c:pt idx="95">
                  <c:v>135693.25131685688</c:v>
                </c:pt>
                <c:pt idx="96">
                  <c:v>132930.53672204586</c:v>
                </c:pt>
                <c:pt idx="97">
                  <c:v>133817.94110604122</c:v>
                </c:pt>
                <c:pt idx="98">
                  <c:v>134102.54510318558</c:v>
                </c:pt>
                <c:pt idx="99">
                  <c:v>135244.40145423016</c:v>
                </c:pt>
                <c:pt idx="100">
                  <c:v>135592.29062809088</c:v>
                </c:pt>
                <c:pt idx="101">
                  <c:v>136289.28923883551</c:v>
                </c:pt>
                <c:pt idx="102">
                  <c:v>136483.54236278762</c:v>
                </c:pt>
                <c:pt idx="103">
                  <c:v>136468.65200831584</c:v>
                </c:pt>
                <c:pt idx="104">
                  <c:v>137374.38080482982</c:v>
                </c:pt>
                <c:pt idx="105">
                  <c:v>136855.2842320826</c:v>
                </c:pt>
                <c:pt idx="106">
                  <c:v>137153.43715431061</c:v>
                </c:pt>
                <c:pt idx="107">
                  <c:v>137254.46437611847</c:v>
                </c:pt>
                <c:pt idx="108">
                  <c:v>137044.95916169474</c:v>
                </c:pt>
                <c:pt idx="109">
                  <c:v>137114.85209288509</c:v>
                </c:pt>
                <c:pt idx="110">
                  <c:v>135122.5732912524</c:v>
                </c:pt>
                <c:pt idx="111">
                  <c:v>119857.77618699698</c:v>
                </c:pt>
                <c:pt idx="112">
                  <c:v>124704.82465607702</c:v>
                </c:pt>
                <c:pt idx="113">
                  <c:v>130171.88416912055</c:v>
                </c:pt>
                <c:pt idx="114">
                  <c:v>131050.54438599267</c:v>
                </c:pt>
                <c:pt idx="115">
                  <c:v>137289.86080342616</c:v>
                </c:pt>
                <c:pt idx="116">
                  <c:v>138271.483307146</c:v>
                </c:pt>
                <c:pt idx="117">
                  <c:v>136511.28732781333</c:v>
                </c:pt>
                <c:pt idx="118">
                  <c:v>137169.2717320821</c:v>
                </c:pt>
                <c:pt idx="119">
                  <c:v>141885.15129487225</c:v>
                </c:pt>
                <c:pt idx="120">
                  <c:v>144084.37113756905</c:v>
                </c:pt>
                <c:pt idx="121">
                  <c:v>142488.13243192149</c:v>
                </c:pt>
                <c:pt idx="122">
                  <c:v>138894.95220113275</c:v>
                </c:pt>
                <c:pt idx="123">
                  <c:v>136826.23689355387</c:v>
                </c:pt>
                <c:pt idx="124">
                  <c:v>136905.81503293116</c:v>
                </c:pt>
                <c:pt idx="125">
                  <c:v>137768.86929089876</c:v>
                </c:pt>
                <c:pt idx="126">
                  <c:v>139096.49277670746</c:v>
                </c:pt>
                <c:pt idx="127">
                  <c:v>140523.20550311814</c:v>
                </c:pt>
                <c:pt idx="128">
                  <c:v>140348.53515867775</c:v>
                </c:pt>
                <c:pt idx="129">
                  <c:v>138390.16783848763</c:v>
                </c:pt>
                <c:pt idx="130" formatCode="#,##0">
                  <c:v>136931.71537668817</c:v>
                </c:pt>
                <c:pt idx="131" formatCode="#,##0">
                  <c:v>138122.27117998671</c:v>
                </c:pt>
                <c:pt idx="132" formatCode="#,##0">
                  <c:v>140429.27993582032</c:v>
                </c:pt>
                <c:pt idx="133" formatCode="#,##0">
                  <c:v>136404.57677568408</c:v>
                </c:pt>
                <c:pt idx="134" formatCode="#,##0">
                  <c:v>135186.4839037121</c:v>
                </c:pt>
                <c:pt idx="135" formatCode="#,##0">
                  <c:v>133944.120116523</c:v>
                </c:pt>
                <c:pt idx="136" formatCode="#,##0">
                  <c:v>129051.14140753719</c:v>
                </c:pt>
                <c:pt idx="137" formatCode="#,##0">
                  <c:v>129904.16945201036</c:v>
                </c:pt>
                <c:pt idx="138" formatCode="#,##0">
                  <c:v>120992.74342930346</c:v>
                </c:pt>
                <c:pt idx="139" formatCode="#,##0">
                  <c:v>128401.12911004818</c:v>
                </c:pt>
                <c:pt idx="140" formatCode="#,##0">
                  <c:v>124827.72568745825</c:v>
                </c:pt>
                <c:pt idx="141" formatCode="#,##0">
                  <c:v>119759.72002372518</c:v>
                </c:pt>
                <c:pt idx="142" formatCode="#,##0">
                  <c:v>123318.97890310943</c:v>
                </c:pt>
                <c:pt idx="143" formatCode="#,##0">
                  <c:v>125853.18391945559</c:v>
                </c:pt>
                <c:pt idx="144" formatCode="#,##0">
                  <c:v>124817.41221366508</c:v>
                </c:pt>
                <c:pt idx="145" formatCode="#,##0">
                  <c:v>126515.89011384499</c:v>
                </c:pt>
                <c:pt idx="146" formatCode="#,##0">
                  <c:v>125550.3967500302</c:v>
                </c:pt>
                <c:pt idx="147" formatCode="#,##0">
                  <c:v>127086.90761553643</c:v>
                </c:pt>
                <c:pt idx="148" formatCode="#,##0">
                  <c:v>127649.55948162268</c:v>
                </c:pt>
                <c:pt idx="149" formatCode="#,##0">
                  <c:v>126496.78183985605</c:v>
                </c:pt>
                <c:pt idx="150" formatCode="#,##0">
                  <c:v>126069.08357077731</c:v>
                </c:pt>
                <c:pt idx="151" formatCode="#,##0">
                  <c:v>125952.17970958212</c:v>
                </c:pt>
                <c:pt idx="152" formatCode="#,##0">
                  <c:v>126421.3641742183</c:v>
                </c:pt>
                <c:pt idx="153" formatCode="#,##0">
                  <c:v>125912.20213000664</c:v>
                </c:pt>
                <c:pt idx="154" formatCode="#,##0">
                  <c:v>126891.3080049898</c:v>
                </c:pt>
                <c:pt idx="155" formatCode="#,##0">
                  <c:v>129136.15482403687</c:v>
                </c:pt>
                <c:pt idx="156" formatCode="#,##0">
                  <c:v>131084.94853648639</c:v>
                </c:pt>
              </c:numCache>
            </c:numRef>
          </c:val>
          <c:smooth val="0"/>
          <c:extLst>
            <c:ext xmlns:c16="http://schemas.microsoft.com/office/drawing/2014/chart" uri="{C3380CC4-5D6E-409C-BE32-E72D297353CC}">
              <c16:uniqueId val="{00000000-A6BE-4121-B975-02A384981E67}"/>
            </c:ext>
          </c:extLst>
        </c:ser>
        <c:ser>
          <c:idx val="2"/>
          <c:order val="1"/>
          <c:tx>
            <c:strRef>
              <c:f>simplified!$E$11</c:f>
              <c:strCache>
                <c:ptCount val="1"/>
                <c:pt idx="0">
                  <c:v>worst performing asset class portfolio</c:v>
                </c:pt>
              </c:strCache>
            </c:strRef>
          </c:tx>
          <c:spPr>
            <a:ln w="28575" cap="rnd">
              <a:solidFill>
                <a:schemeClr val="accent1">
                  <a:lumMod val="20000"/>
                  <a:lumOff val="80000"/>
                </a:schemeClr>
              </a:solidFill>
              <a:round/>
            </a:ln>
            <a:effectLst/>
          </c:spPr>
          <c:marker>
            <c:symbol val="none"/>
          </c:marker>
          <c:cat>
            <c:numRef>
              <c:f>simplified!$A$11:$A$167</c:f>
              <c:numCache>
                <c:formatCode>m/d/yyyy</c:formatCode>
                <c:ptCount val="157"/>
                <c:pt idx="0">
                  <c:v>40543</c:v>
                </c:pt>
                <c:pt idx="1">
                  <c:v>40574</c:v>
                </c:pt>
                <c:pt idx="2">
                  <c:v>40602</c:v>
                </c:pt>
                <c:pt idx="3">
                  <c:v>40633</c:v>
                </c:pt>
                <c:pt idx="4">
                  <c:v>40663</c:v>
                </c:pt>
                <c:pt idx="5">
                  <c:v>40694</c:v>
                </c:pt>
                <c:pt idx="6">
                  <c:v>40724</c:v>
                </c:pt>
                <c:pt idx="7">
                  <c:v>40755</c:v>
                </c:pt>
                <c:pt idx="8">
                  <c:v>40786</c:v>
                </c:pt>
                <c:pt idx="9">
                  <c:v>40816</c:v>
                </c:pt>
                <c:pt idx="10">
                  <c:v>40847</c:v>
                </c:pt>
                <c:pt idx="11">
                  <c:v>40877</c:v>
                </c:pt>
                <c:pt idx="12">
                  <c:v>40908</c:v>
                </c:pt>
                <c:pt idx="13">
                  <c:v>40939</c:v>
                </c:pt>
                <c:pt idx="14">
                  <c:v>40968</c:v>
                </c:pt>
                <c:pt idx="15">
                  <c:v>40999</c:v>
                </c:pt>
                <c:pt idx="16">
                  <c:v>41029</c:v>
                </c:pt>
                <c:pt idx="17">
                  <c:v>41060</c:v>
                </c:pt>
                <c:pt idx="18">
                  <c:v>41090</c:v>
                </c:pt>
                <c:pt idx="19">
                  <c:v>41121</c:v>
                </c:pt>
                <c:pt idx="20">
                  <c:v>41152</c:v>
                </c:pt>
                <c:pt idx="21">
                  <c:v>41182</c:v>
                </c:pt>
                <c:pt idx="22">
                  <c:v>41213</c:v>
                </c:pt>
                <c:pt idx="23">
                  <c:v>41243</c:v>
                </c:pt>
                <c:pt idx="24">
                  <c:v>41274</c:v>
                </c:pt>
                <c:pt idx="25">
                  <c:v>41305</c:v>
                </c:pt>
                <c:pt idx="26">
                  <c:v>41333</c:v>
                </c:pt>
                <c:pt idx="27">
                  <c:v>41364</c:v>
                </c:pt>
                <c:pt idx="28">
                  <c:v>41394</c:v>
                </c:pt>
                <c:pt idx="29">
                  <c:v>41425</c:v>
                </c:pt>
                <c:pt idx="30">
                  <c:v>41455</c:v>
                </c:pt>
                <c:pt idx="31">
                  <c:v>41486</c:v>
                </c:pt>
                <c:pt idx="32">
                  <c:v>41517</c:v>
                </c:pt>
                <c:pt idx="33">
                  <c:v>41547</c:v>
                </c:pt>
                <c:pt idx="34">
                  <c:v>41578</c:v>
                </c:pt>
                <c:pt idx="35">
                  <c:v>41608</c:v>
                </c:pt>
                <c:pt idx="36">
                  <c:v>41639</c:v>
                </c:pt>
                <c:pt idx="37">
                  <c:v>41670</c:v>
                </c:pt>
                <c:pt idx="38">
                  <c:v>41698</c:v>
                </c:pt>
                <c:pt idx="39">
                  <c:v>41729</c:v>
                </c:pt>
                <c:pt idx="40">
                  <c:v>41759</c:v>
                </c:pt>
                <c:pt idx="41">
                  <c:v>41790</c:v>
                </c:pt>
                <c:pt idx="42">
                  <c:v>41820</c:v>
                </c:pt>
                <c:pt idx="43">
                  <c:v>41851</c:v>
                </c:pt>
                <c:pt idx="44">
                  <c:v>41882</c:v>
                </c:pt>
                <c:pt idx="45">
                  <c:v>41912</c:v>
                </c:pt>
                <c:pt idx="46">
                  <c:v>41943</c:v>
                </c:pt>
                <c:pt idx="47">
                  <c:v>41973</c:v>
                </c:pt>
                <c:pt idx="48">
                  <c:v>42004</c:v>
                </c:pt>
                <c:pt idx="49">
                  <c:v>42035</c:v>
                </c:pt>
                <c:pt idx="50">
                  <c:v>42063</c:v>
                </c:pt>
                <c:pt idx="51">
                  <c:v>42094</c:v>
                </c:pt>
                <c:pt idx="52">
                  <c:v>42124</c:v>
                </c:pt>
                <c:pt idx="53">
                  <c:v>42155</c:v>
                </c:pt>
                <c:pt idx="54">
                  <c:v>42185</c:v>
                </c:pt>
                <c:pt idx="55">
                  <c:v>42216</c:v>
                </c:pt>
                <c:pt idx="56">
                  <c:v>42247</c:v>
                </c:pt>
                <c:pt idx="57">
                  <c:v>42277</c:v>
                </c:pt>
                <c:pt idx="58">
                  <c:v>42308</c:v>
                </c:pt>
                <c:pt idx="59">
                  <c:v>42338</c:v>
                </c:pt>
                <c:pt idx="60">
                  <c:v>42369</c:v>
                </c:pt>
                <c:pt idx="61">
                  <c:v>42400</c:v>
                </c:pt>
                <c:pt idx="62">
                  <c:v>42429</c:v>
                </c:pt>
                <c:pt idx="63">
                  <c:v>42460</c:v>
                </c:pt>
                <c:pt idx="64">
                  <c:v>42490</c:v>
                </c:pt>
                <c:pt idx="65">
                  <c:v>42521</c:v>
                </c:pt>
                <c:pt idx="66">
                  <c:v>42551</c:v>
                </c:pt>
                <c:pt idx="67">
                  <c:v>42582</c:v>
                </c:pt>
                <c:pt idx="68">
                  <c:v>42613</c:v>
                </c:pt>
                <c:pt idx="69">
                  <c:v>42643</c:v>
                </c:pt>
                <c:pt idx="70">
                  <c:v>42674</c:v>
                </c:pt>
                <c:pt idx="71">
                  <c:v>42704</c:v>
                </c:pt>
                <c:pt idx="72">
                  <c:v>42735</c:v>
                </c:pt>
                <c:pt idx="73">
                  <c:v>42766</c:v>
                </c:pt>
                <c:pt idx="74">
                  <c:v>42794</c:v>
                </c:pt>
                <c:pt idx="75">
                  <c:v>42825</c:v>
                </c:pt>
                <c:pt idx="76">
                  <c:v>42855</c:v>
                </c:pt>
                <c:pt idx="77">
                  <c:v>42886</c:v>
                </c:pt>
                <c:pt idx="78">
                  <c:v>42916</c:v>
                </c:pt>
                <c:pt idx="79">
                  <c:v>42947</c:v>
                </c:pt>
                <c:pt idx="80">
                  <c:v>42978</c:v>
                </c:pt>
                <c:pt idx="81">
                  <c:v>43008</c:v>
                </c:pt>
                <c:pt idx="82">
                  <c:v>43039</c:v>
                </c:pt>
                <c:pt idx="83">
                  <c:v>43069</c:v>
                </c:pt>
                <c:pt idx="84">
                  <c:v>43100</c:v>
                </c:pt>
                <c:pt idx="85">
                  <c:v>43131</c:v>
                </c:pt>
                <c:pt idx="86">
                  <c:v>43159</c:v>
                </c:pt>
                <c:pt idx="87">
                  <c:v>43190</c:v>
                </c:pt>
                <c:pt idx="88">
                  <c:v>43220</c:v>
                </c:pt>
                <c:pt idx="89">
                  <c:v>43251</c:v>
                </c:pt>
                <c:pt idx="90">
                  <c:v>43281</c:v>
                </c:pt>
                <c:pt idx="91">
                  <c:v>43312</c:v>
                </c:pt>
                <c:pt idx="92">
                  <c:v>43343</c:v>
                </c:pt>
                <c:pt idx="93">
                  <c:v>43373</c:v>
                </c:pt>
                <c:pt idx="94">
                  <c:v>43404</c:v>
                </c:pt>
                <c:pt idx="95">
                  <c:v>43434</c:v>
                </c:pt>
                <c:pt idx="96">
                  <c:v>43465</c:v>
                </c:pt>
                <c:pt idx="97">
                  <c:v>43496</c:v>
                </c:pt>
                <c:pt idx="98">
                  <c:v>43524</c:v>
                </c:pt>
                <c:pt idx="99">
                  <c:v>43555</c:v>
                </c:pt>
                <c:pt idx="100">
                  <c:v>43585</c:v>
                </c:pt>
                <c:pt idx="101">
                  <c:v>43616</c:v>
                </c:pt>
                <c:pt idx="102">
                  <c:v>43646</c:v>
                </c:pt>
                <c:pt idx="103">
                  <c:v>43677</c:v>
                </c:pt>
                <c:pt idx="104">
                  <c:v>43708</c:v>
                </c:pt>
                <c:pt idx="105">
                  <c:v>43738</c:v>
                </c:pt>
                <c:pt idx="106">
                  <c:v>43769</c:v>
                </c:pt>
                <c:pt idx="107">
                  <c:v>43799</c:v>
                </c:pt>
                <c:pt idx="108">
                  <c:v>43830</c:v>
                </c:pt>
                <c:pt idx="109">
                  <c:v>43861</c:v>
                </c:pt>
                <c:pt idx="110">
                  <c:v>43890</c:v>
                </c:pt>
                <c:pt idx="111">
                  <c:v>43921</c:v>
                </c:pt>
                <c:pt idx="112">
                  <c:v>43951</c:v>
                </c:pt>
                <c:pt idx="113">
                  <c:v>43982</c:v>
                </c:pt>
                <c:pt idx="114">
                  <c:v>44012</c:v>
                </c:pt>
                <c:pt idx="115">
                  <c:v>44043</c:v>
                </c:pt>
                <c:pt idx="116">
                  <c:v>44074</c:v>
                </c:pt>
                <c:pt idx="117">
                  <c:v>44104</c:v>
                </c:pt>
                <c:pt idx="118">
                  <c:v>44135</c:v>
                </c:pt>
                <c:pt idx="119">
                  <c:v>44165</c:v>
                </c:pt>
                <c:pt idx="120">
                  <c:v>44196</c:v>
                </c:pt>
                <c:pt idx="121">
                  <c:v>44227</c:v>
                </c:pt>
                <c:pt idx="122">
                  <c:v>44255</c:v>
                </c:pt>
                <c:pt idx="123">
                  <c:v>44286</c:v>
                </c:pt>
                <c:pt idx="124">
                  <c:v>44316</c:v>
                </c:pt>
                <c:pt idx="125">
                  <c:v>44347</c:v>
                </c:pt>
                <c:pt idx="126">
                  <c:v>44377</c:v>
                </c:pt>
                <c:pt idx="127">
                  <c:v>44408</c:v>
                </c:pt>
                <c:pt idx="128">
                  <c:v>44439</c:v>
                </c:pt>
                <c:pt idx="129">
                  <c:v>44469</c:v>
                </c:pt>
                <c:pt idx="130">
                  <c:v>44500</c:v>
                </c:pt>
                <c:pt idx="131">
                  <c:v>44530</c:v>
                </c:pt>
                <c:pt idx="132">
                  <c:v>44561</c:v>
                </c:pt>
                <c:pt idx="133">
                  <c:v>44592</c:v>
                </c:pt>
                <c:pt idx="134">
                  <c:v>44620</c:v>
                </c:pt>
                <c:pt idx="135">
                  <c:v>44651</c:v>
                </c:pt>
                <c:pt idx="136">
                  <c:v>44681</c:v>
                </c:pt>
                <c:pt idx="137">
                  <c:v>44712</c:v>
                </c:pt>
                <c:pt idx="138">
                  <c:v>44742</c:v>
                </c:pt>
                <c:pt idx="139">
                  <c:v>44773</c:v>
                </c:pt>
                <c:pt idx="140">
                  <c:v>44804</c:v>
                </c:pt>
                <c:pt idx="141">
                  <c:v>44834</c:v>
                </c:pt>
                <c:pt idx="142">
                  <c:v>44865</c:v>
                </c:pt>
                <c:pt idx="143">
                  <c:v>44895</c:v>
                </c:pt>
                <c:pt idx="144">
                  <c:v>44926</c:v>
                </c:pt>
                <c:pt idx="145">
                  <c:v>44957</c:v>
                </c:pt>
                <c:pt idx="146">
                  <c:v>44985</c:v>
                </c:pt>
                <c:pt idx="147">
                  <c:v>45016</c:v>
                </c:pt>
                <c:pt idx="148">
                  <c:v>45046</c:v>
                </c:pt>
                <c:pt idx="149">
                  <c:v>45077</c:v>
                </c:pt>
                <c:pt idx="150">
                  <c:v>45107</c:v>
                </c:pt>
                <c:pt idx="151">
                  <c:v>45138</c:v>
                </c:pt>
                <c:pt idx="152">
                  <c:v>45169</c:v>
                </c:pt>
                <c:pt idx="153">
                  <c:v>45199</c:v>
                </c:pt>
                <c:pt idx="154">
                  <c:v>45230</c:v>
                </c:pt>
                <c:pt idx="155">
                  <c:v>45260</c:v>
                </c:pt>
                <c:pt idx="156">
                  <c:v>45291</c:v>
                </c:pt>
              </c:numCache>
            </c:numRef>
          </c:cat>
          <c:val>
            <c:numRef>
              <c:f>simplified!$F$11:$F$167</c:f>
              <c:numCache>
                <c:formatCode>#,##0.00</c:formatCode>
                <c:ptCount val="157"/>
                <c:pt idx="0" formatCode="#,##0">
                  <c:v>100000</c:v>
                </c:pt>
                <c:pt idx="1">
                  <c:v>100264.89</c:v>
                </c:pt>
                <c:pt idx="2">
                  <c:v>100109.950665483</c:v>
                </c:pt>
                <c:pt idx="3">
                  <c:v>100261.55717477082</c:v>
                </c:pt>
                <c:pt idx="4">
                  <c:v>100844.65833898784</c:v>
                </c:pt>
                <c:pt idx="5">
                  <c:v>101556.03672784273</c:v>
                </c:pt>
                <c:pt idx="6">
                  <c:v>101770.94961276618</c:v>
                </c:pt>
                <c:pt idx="7">
                  <c:v>102700.57635200401</c:v>
                </c:pt>
                <c:pt idx="8">
                  <c:v>103468.6020721372</c:v>
                </c:pt>
                <c:pt idx="9">
                  <c:v>104125.00688368283</c:v>
                </c:pt>
                <c:pt idx="10">
                  <c:v>104003.38887564269</c:v>
                </c:pt>
                <c:pt idx="11">
                  <c:v>104158.32272405074</c:v>
                </c:pt>
                <c:pt idx="12">
                  <c:v>104653.12683615135</c:v>
                </c:pt>
                <c:pt idx="13">
                  <c:v>104951.33592107096</c:v>
                </c:pt>
                <c:pt idx="14">
                  <c:v>104759.74725734704</c:v>
                </c:pt>
                <c:pt idx="15">
                  <c:v>104688.11254217247</c:v>
                </c:pt>
                <c:pt idx="16">
                  <c:v>104579.82315855885</c:v>
                </c:pt>
                <c:pt idx="17">
                  <c:v>105482.79672565679</c:v>
                </c:pt>
                <c:pt idx="18">
                  <c:v>105639.39648567569</c:v>
                </c:pt>
                <c:pt idx="19">
                  <c:v>105820.99060823457</c:v>
                </c:pt>
                <c:pt idx="20">
                  <c:v>105937.60533988483</c:v>
                </c:pt>
                <c:pt idx="21">
                  <c:v>106389.09022632237</c:v>
                </c:pt>
                <c:pt idx="22">
                  <c:v>106507.373616836</c:v>
                </c:pt>
                <c:pt idx="23">
                  <c:v>106786.97677405493</c:v>
                </c:pt>
                <c:pt idx="24">
                  <c:v>106751.87589478931</c:v>
                </c:pt>
                <c:pt idx="25">
                  <c:v>106770.60017382127</c:v>
                </c:pt>
                <c:pt idx="26">
                  <c:v>107520.67431710237</c:v>
                </c:pt>
                <c:pt idx="27">
                  <c:v>107691.00856935552</c:v>
                </c:pt>
                <c:pt idx="28">
                  <c:v>108092.56680210892</c:v>
                </c:pt>
                <c:pt idx="29">
                  <c:v>107678.44256017669</c:v>
                </c:pt>
                <c:pt idx="30">
                  <c:v>107072.90207059529</c:v>
                </c:pt>
                <c:pt idx="31">
                  <c:v>107490.50780325101</c:v>
                </c:pt>
                <c:pt idx="32">
                  <c:v>107410.38437873447</c:v>
                </c:pt>
                <c:pt idx="33">
                  <c:v>107797.85659934231</c:v>
                </c:pt>
                <c:pt idx="34">
                  <c:v>108477.96405641321</c:v>
                </c:pt>
                <c:pt idx="35">
                  <c:v>108716.70235970856</c:v>
                </c:pt>
                <c:pt idx="36">
                  <c:v>108613.79112925487</c:v>
                </c:pt>
                <c:pt idx="37">
                  <c:v>111441.6272109588</c:v>
                </c:pt>
                <c:pt idx="38">
                  <c:v>111830.82594983037</c:v>
                </c:pt>
                <c:pt idx="39">
                  <c:v>111617.68757865258</c:v>
                </c:pt>
                <c:pt idx="40">
                  <c:v>112183.5446076013</c:v>
                </c:pt>
                <c:pt idx="41">
                  <c:v>113556.74972207956</c:v>
                </c:pt>
                <c:pt idx="42">
                  <c:v>113844.43439182547</c:v>
                </c:pt>
                <c:pt idx="43">
                  <c:v>114563.39614834017</c:v>
                </c:pt>
                <c:pt idx="44">
                  <c:v>115785.16894290375</c:v>
                </c:pt>
                <c:pt idx="45">
                  <c:v>115056.56761029674</c:v>
                </c:pt>
                <c:pt idx="46">
                  <c:v>115711.48109879132</c:v>
                </c:pt>
                <c:pt idx="47">
                  <c:v>117503.36595279099</c:v>
                </c:pt>
                <c:pt idx="48">
                  <c:v>118159.99826240838</c:v>
                </c:pt>
                <c:pt idx="49">
                  <c:v>120469.93170043985</c:v>
                </c:pt>
                <c:pt idx="50">
                  <c:v>120435.5254879462</c:v>
                </c:pt>
                <c:pt idx="51">
                  <c:v>120398.63608648925</c:v>
                </c:pt>
                <c:pt idx="52">
                  <c:v>119870.13423352399</c:v>
                </c:pt>
                <c:pt idx="53">
                  <c:v>120349.36304317621</c:v>
                </c:pt>
                <c:pt idx="54">
                  <c:v>120654.09966533784</c:v>
                </c:pt>
                <c:pt idx="55">
                  <c:v>121106.44395039316</c:v>
                </c:pt>
                <c:pt idx="56">
                  <c:v>120899.69102928105</c:v>
                </c:pt>
                <c:pt idx="57">
                  <c:v>120650.83110526638</c:v>
                </c:pt>
                <c:pt idx="58">
                  <c:v>120651.53088008679</c:v>
                </c:pt>
                <c:pt idx="59">
                  <c:v>120667.8188367556</c:v>
                </c:pt>
                <c:pt idx="60">
                  <c:v>121247.06056751769</c:v>
                </c:pt>
                <c:pt idx="61">
                  <c:v>119715.71019049395</c:v>
                </c:pt>
                <c:pt idx="62">
                  <c:v>120660.26714397094</c:v>
                </c:pt>
                <c:pt idx="63">
                  <c:v>124800.12091353984</c:v>
                </c:pt>
                <c:pt idx="64">
                  <c:v>128838.65282373152</c:v>
                </c:pt>
                <c:pt idx="65">
                  <c:v>129283.14617725245</c:v>
                </c:pt>
                <c:pt idx="66">
                  <c:v>130423.42352430879</c:v>
                </c:pt>
                <c:pt idx="67">
                  <c:v>133613.58046345631</c:v>
                </c:pt>
                <c:pt idx="68">
                  <c:v>136299.21343445592</c:v>
                </c:pt>
                <c:pt idx="69">
                  <c:v>136926.18981574959</c:v>
                </c:pt>
                <c:pt idx="70">
                  <c:v>137075.43936166246</c:v>
                </c:pt>
                <c:pt idx="71">
                  <c:v>136327.00746169995</c:v>
                </c:pt>
                <c:pt idx="72">
                  <c:v>138557.31730394677</c:v>
                </c:pt>
                <c:pt idx="73">
                  <c:v>138845.44724528032</c:v>
                </c:pt>
                <c:pt idx="74">
                  <c:v>139305.98370924819</c:v>
                </c:pt>
                <c:pt idx="75">
                  <c:v>139484.67149455205</c:v>
                </c:pt>
                <c:pt idx="76">
                  <c:v>140038.96963060426</c:v>
                </c:pt>
                <c:pt idx="77">
                  <c:v>140270.81814872471</c:v>
                </c:pt>
                <c:pt idx="78">
                  <c:v>138900.61071580253</c:v>
                </c:pt>
                <c:pt idx="79">
                  <c:v>138327.52068605021</c:v>
                </c:pt>
                <c:pt idx="80">
                  <c:v>138906.76717892304</c:v>
                </c:pt>
                <c:pt idx="81">
                  <c:v>138279.14473277851</c:v>
                </c:pt>
                <c:pt idx="82">
                  <c:v>139115.91332129997</c:v>
                </c:pt>
                <c:pt idx="83">
                  <c:v>139301.49394967058</c:v>
                </c:pt>
                <c:pt idx="84">
                  <c:v>138665.48511874457</c:v>
                </c:pt>
                <c:pt idx="85">
                  <c:v>138358.34106920657</c:v>
                </c:pt>
                <c:pt idx="86">
                  <c:v>138743.83507909361</c:v>
                </c:pt>
                <c:pt idx="87">
                  <c:v>138972.0131902647</c:v>
                </c:pt>
                <c:pt idx="88">
                  <c:v>138877.94303453621</c:v>
                </c:pt>
                <c:pt idx="89">
                  <c:v>139090.00965354996</c:v>
                </c:pt>
                <c:pt idx="90">
                  <c:v>139406.28642650117</c:v>
                </c:pt>
                <c:pt idx="91">
                  <c:v>139222.20042527499</c:v>
                </c:pt>
                <c:pt idx="92">
                  <c:v>139698.63271735032</c:v>
                </c:pt>
                <c:pt idx="93">
                  <c:v>139416.14811213256</c:v>
                </c:pt>
                <c:pt idx="94">
                  <c:v>139276.35554042051</c:v>
                </c:pt>
                <c:pt idx="95">
                  <c:v>140097.68213667793</c:v>
                </c:pt>
                <c:pt idx="96">
                  <c:v>141318.04502623412</c:v>
                </c:pt>
                <c:pt idx="97">
                  <c:v>147220.89976729205</c:v>
                </c:pt>
                <c:pt idx="98">
                  <c:v>149558.76765509442</c:v>
                </c:pt>
                <c:pt idx="99">
                  <c:v>151135.11706342848</c:v>
                </c:pt>
                <c:pt idx="100">
                  <c:v>152968.38603487163</c:v>
                </c:pt>
                <c:pt idx="101">
                  <c:v>151238.31358961781</c:v>
                </c:pt>
                <c:pt idx="102">
                  <c:v>154905.84269503647</c:v>
                </c:pt>
                <c:pt idx="103">
                  <c:v>155711.35307694552</c:v>
                </c:pt>
                <c:pt idx="104">
                  <c:v>156770.19027513519</c:v>
                </c:pt>
                <c:pt idx="105">
                  <c:v>157238.93314384788</c:v>
                </c:pt>
                <c:pt idx="106">
                  <c:v>157679.20215849785</c:v>
                </c:pt>
                <c:pt idx="107">
                  <c:v>158634.73812174454</c:v>
                </c:pt>
                <c:pt idx="108">
                  <c:v>161088.81752164071</c:v>
                </c:pt>
                <c:pt idx="109">
                  <c:v>162767.39521797971</c:v>
                </c:pt>
                <c:pt idx="110">
                  <c:v>163831.32429682201</c:v>
                </c:pt>
                <c:pt idx="111">
                  <c:v>164067.83119657691</c:v>
                </c:pt>
                <c:pt idx="112">
                  <c:v>166247.68562220401</c:v>
                </c:pt>
                <c:pt idx="113">
                  <c:v>166716.15497551882</c:v>
                </c:pt>
                <c:pt idx="114">
                  <c:v>167594.44902316085</c:v>
                </c:pt>
                <c:pt idx="115">
                  <c:v>168392.8354594174</c:v>
                </c:pt>
                <c:pt idx="116">
                  <c:v>168546.84754672859</c:v>
                </c:pt>
                <c:pt idx="117">
                  <c:v>168814.55050468707</c:v>
                </c:pt>
                <c:pt idx="118">
                  <c:v>168823.98723806028</c:v>
                </c:pt>
                <c:pt idx="119">
                  <c:v>169219.38989857052</c:v>
                </c:pt>
                <c:pt idx="120">
                  <c:v>169612.6726826338</c:v>
                </c:pt>
                <c:pt idx="121">
                  <c:v>169782.28535489121</c:v>
                </c:pt>
                <c:pt idx="122">
                  <c:v>170053.93701472474</c:v>
                </c:pt>
                <c:pt idx="123">
                  <c:v>170087.94779944679</c:v>
                </c:pt>
                <c:pt idx="124">
                  <c:v>171856.86245570247</c:v>
                </c:pt>
                <c:pt idx="125">
                  <c:v>172217.76186790754</c:v>
                </c:pt>
                <c:pt idx="126">
                  <c:v>174508.25810306187</c:v>
                </c:pt>
                <c:pt idx="127">
                  <c:v>175293.54526180626</c:v>
                </c:pt>
                <c:pt idx="128">
                  <c:v>176245.38921285953</c:v>
                </c:pt>
                <c:pt idx="129">
                  <c:v>177919.7037789718</c:v>
                </c:pt>
                <c:pt idx="130" formatCode="#,##0">
                  <c:v>177659.9410114545</c:v>
                </c:pt>
                <c:pt idx="131" formatCode="#,##0">
                  <c:v>175872.68200487929</c:v>
                </c:pt>
                <c:pt idx="132" formatCode="#,##0">
                  <c:v>179094.66953920867</c:v>
                </c:pt>
                <c:pt idx="133" formatCode="#,##0">
                  <c:v>172999.30782771038</c:v>
                </c:pt>
                <c:pt idx="134" formatCode="#,##0">
                  <c:v>171753.28031308128</c:v>
                </c:pt>
                <c:pt idx="135" formatCode="#,##0">
                  <c:v>166611.05580181975</c:v>
                </c:pt>
                <c:pt idx="136" formatCode="#,##0">
                  <c:v>160800.02871977506</c:v>
                </c:pt>
                <c:pt idx="137" formatCode="#,##0">
                  <c:v>160687.91893975163</c:v>
                </c:pt>
                <c:pt idx="138" formatCode="#,##0">
                  <c:v>157184.84196290557</c:v>
                </c:pt>
                <c:pt idx="139" formatCode="#,##0">
                  <c:v>163320.81948315894</c:v>
                </c:pt>
                <c:pt idx="140" formatCode="#,##0">
                  <c:v>158842.64427334044</c:v>
                </c:pt>
                <c:pt idx="141" formatCode="#,##0">
                  <c:v>158002.87498159613</c:v>
                </c:pt>
                <c:pt idx="142" formatCode="#,##0">
                  <c:v>156418.09034524322</c:v>
                </c:pt>
                <c:pt idx="143" formatCode="#,##0">
                  <c:v>160820.96239409014</c:v>
                </c:pt>
                <c:pt idx="144" formatCode="#,##0">
                  <c:v>158164.90770757431</c:v>
                </c:pt>
                <c:pt idx="145" formatCode="#,##0">
                  <c:v>163051.52324663522</c:v>
                </c:pt>
                <c:pt idx="146" formatCode="#,##0">
                  <c:v>159802.65642533673</c:v>
                </c:pt>
                <c:pt idx="147" formatCode="#,##0">
                  <c:v>163254.58556731173</c:v>
                </c:pt>
                <c:pt idx="148" formatCode="#,##0">
                  <c:v>164853.02754005982</c:v>
                </c:pt>
                <c:pt idx="149" formatCode="#,##0">
                  <c:v>162067.57187492645</c:v>
                </c:pt>
                <c:pt idx="150" formatCode="#,##0">
                  <c:v>162133.30648207891</c:v>
                </c:pt>
                <c:pt idx="151" formatCode="#,##0">
                  <c:v>160339.07445922564</c:v>
                </c:pt>
                <c:pt idx="152" formatCode="#,##0">
                  <c:v>160044.29107083235</c:v>
                </c:pt>
                <c:pt idx="153" formatCode="#,##0">
                  <c:v>155857.13230569169</c:v>
                </c:pt>
                <c:pt idx="154" formatCode="#,##0">
                  <c:v>156435.26875226642</c:v>
                </c:pt>
                <c:pt idx="155" formatCode="#,##0">
                  <c:v>163150.78454337124</c:v>
                </c:pt>
                <c:pt idx="156" formatCode="#,##0">
                  <c:v>168745.22494536341</c:v>
                </c:pt>
              </c:numCache>
            </c:numRef>
          </c:val>
          <c:smooth val="0"/>
          <c:extLst>
            <c:ext xmlns:c16="http://schemas.microsoft.com/office/drawing/2014/chart" uri="{C3380CC4-5D6E-409C-BE32-E72D297353CC}">
              <c16:uniqueId val="{00000001-A6BE-4121-B975-02A384981E67}"/>
            </c:ext>
          </c:extLst>
        </c:ser>
        <c:ser>
          <c:idx val="3"/>
          <c:order val="2"/>
          <c:tx>
            <c:strRef>
              <c:f>simplified!$S$10</c:f>
              <c:strCache>
                <c:ptCount val="1"/>
              </c:strCache>
            </c:strRef>
          </c:tx>
          <c:spPr>
            <a:ln w="28575" cap="rnd">
              <a:solidFill>
                <a:schemeClr val="accent1">
                  <a:lumMod val="40000"/>
                  <a:lumOff val="60000"/>
                </a:schemeClr>
              </a:solidFill>
              <a:round/>
            </a:ln>
            <a:effectLst/>
          </c:spPr>
          <c:marker>
            <c:symbol val="none"/>
          </c:marker>
          <c:cat>
            <c:numRef>
              <c:f>simplified!$A$11:$A$167</c:f>
              <c:numCache>
                <c:formatCode>m/d/yyyy</c:formatCode>
                <c:ptCount val="157"/>
                <c:pt idx="0">
                  <c:v>40543</c:v>
                </c:pt>
                <c:pt idx="1">
                  <c:v>40574</c:v>
                </c:pt>
                <c:pt idx="2">
                  <c:v>40602</c:v>
                </c:pt>
                <c:pt idx="3">
                  <c:v>40633</c:v>
                </c:pt>
                <c:pt idx="4">
                  <c:v>40663</c:v>
                </c:pt>
                <c:pt idx="5">
                  <c:v>40694</c:v>
                </c:pt>
                <c:pt idx="6">
                  <c:v>40724</c:v>
                </c:pt>
                <c:pt idx="7">
                  <c:v>40755</c:v>
                </c:pt>
                <c:pt idx="8">
                  <c:v>40786</c:v>
                </c:pt>
                <c:pt idx="9">
                  <c:v>40816</c:v>
                </c:pt>
                <c:pt idx="10">
                  <c:v>40847</c:v>
                </c:pt>
                <c:pt idx="11">
                  <c:v>40877</c:v>
                </c:pt>
                <c:pt idx="12">
                  <c:v>40908</c:v>
                </c:pt>
                <c:pt idx="13">
                  <c:v>40939</c:v>
                </c:pt>
                <c:pt idx="14">
                  <c:v>40968</c:v>
                </c:pt>
                <c:pt idx="15">
                  <c:v>40999</c:v>
                </c:pt>
                <c:pt idx="16">
                  <c:v>41029</c:v>
                </c:pt>
                <c:pt idx="17">
                  <c:v>41060</c:v>
                </c:pt>
                <c:pt idx="18">
                  <c:v>41090</c:v>
                </c:pt>
                <c:pt idx="19">
                  <c:v>41121</c:v>
                </c:pt>
                <c:pt idx="20">
                  <c:v>41152</c:v>
                </c:pt>
                <c:pt idx="21">
                  <c:v>41182</c:v>
                </c:pt>
                <c:pt idx="22">
                  <c:v>41213</c:v>
                </c:pt>
                <c:pt idx="23">
                  <c:v>41243</c:v>
                </c:pt>
                <c:pt idx="24">
                  <c:v>41274</c:v>
                </c:pt>
                <c:pt idx="25">
                  <c:v>41305</c:v>
                </c:pt>
                <c:pt idx="26">
                  <c:v>41333</c:v>
                </c:pt>
                <c:pt idx="27">
                  <c:v>41364</c:v>
                </c:pt>
                <c:pt idx="28">
                  <c:v>41394</c:v>
                </c:pt>
                <c:pt idx="29">
                  <c:v>41425</c:v>
                </c:pt>
                <c:pt idx="30">
                  <c:v>41455</c:v>
                </c:pt>
                <c:pt idx="31">
                  <c:v>41486</c:v>
                </c:pt>
                <c:pt idx="32">
                  <c:v>41517</c:v>
                </c:pt>
                <c:pt idx="33">
                  <c:v>41547</c:v>
                </c:pt>
                <c:pt idx="34">
                  <c:v>41578</c:v>
                </c:pt>
                <c:pt idx="35">
                  <c:v>41608</c:v>
                </c:pt>
                <c:pt idx="36">
                  <c:v>41639</c:v>
                </c:pt>
                <c:pt idx="37">
                  <c:v>41670</c:v>
                </c:pt>
                <c:pt idx="38">
                  <c:v>41698</c:v>
                </c:pt>
                <c:pt idx="39">
                  <c:v>41729</c:v>
                </c:pt>
                <c:pt idx="40">
                  <c:v>41759</c:v>
                </c:pt>
                <c:pt idx="41">
                  <c:v>41790</c:v>
                </c:pt>
                <c:pt idx="42">
                  <c:v>41820</c:v>
                </c:pt>
                <c:pt idx="43">
                  <c:v>41851</c:v>
                </c:pt>
                <c:pt idx="44">
                  <c:v>41882</c:v>
                </c:pt>
                <c:pt idx="45">
                  <c:v>41912</c:v>
                </c:pt>
                <c:pt idx="46">
                  <c:v>41943</c:v>
                </c:pt>
                <c:pt idx="47">
                  <c:v>41973</c:v>
                </c:pt>
                <c:pt idx="48">
                  <c:v>42004</c:v>
                </c:pt>
                <c:pt idx="49">
                  <c:v>42035</c:v>
                </c:pt>
                <c:pt idx="50">
                  <c:v>42063</c:v>
                </c:pt>
                <c:pt idx="51">
                  <c:v>42094</c:v>
                </c:pt>
                <c:pt idx="52">
                  <c:v>42124</c:v>
                </c:pt>
                <c:pt idx="53">
                  <c:v>42155</c:v>
                </c:pt>
                <c:pt idx="54">
                  <c:v>42185</c:v>
                </c:pt>
                <c:pt idx="55">
                  <c:v>42216</c:v>
                </c:pt>
                <c:pt idx="56">
                  <c:v>42247</c:v>
                </c:pt>
                <c:pt idx="57">
                  <c:v>42277</c:v>
                </c:pt>
                <c:pt idx="58">
                  <c:v>42308</c:v>
                </c:pt>
                <c:pt idx="59">
                  <c:v>42338</c:v>
                </c:pt>
                <c:pt idx="60">
                  <c:v>42369</c:v>
                </c:pt>
                <c:pt idx="61">
                  <c:v>42400</c:v>
                </c:pt>
                <c:pt idx="62">
                  <c:v>42429</c:v>
                </c:pt>
                <c:pt idx="63">
                  <c:v>42460</c:v>
                </c:pt>
                <c:pt idx="64">
                  <c:v>42490</c:v>
                </c:pt>
                <c:pt idx="65">
                  <c:v>42521</c:v>
                </c:pt>
                <c:pt idx="66">
                  <c:v>42551</c:v>
                </c:pt>
                <c:pt idx="67">
                  <c:v>42582</c:v>
                </c:pt>
                <c:pt idx="68">
                  <c:v>42613</c:v>
                </c:pt>
                <c:pt idx="69">
                  <c:v>42643</c:v>
                </c:pt>
                <c:pt idx="70">
                  <c:v>42674</c:v>
                </c:pt>
                <c:pt idx="71">
                  <c:v>42704</c:v>
                </c:pt>
                <c:pt idx="72">
                  <c:v>42735</c:v>
                </c:pt>
                <c:pt idx="73">
                  <c:v>42766</c:v>
                </c:pt>
                <c:pt idx="74">
                  <c:v>42794</c:v>
                </c:pt>
                <c:pt idx="75">
                  <c:v>42825</c:v>
                </c:pt>
                <c:pt idx="76">
                  <c:v>42855</c:v>
                </c:pt>
                <c:pt idx="77">
                  <c:v>42886</c:v>
                </c:pt>
                <c:pt idx="78">
                  <c:v>42916</c:v>
                </c:pt>
                <c:pt idx="79">
                  <c:v>42947</c:v>
                </c:pt>
                <c:pt idx="80">
                  <c:v>42978</c:v>
                </c:pt>
                <c:pt idx="81">
                  <c:v>43008</c:v>
                </c:pt>
                <c:pt idx="82">
                  <c:v>43039</c:v>
                </c:pt>
                <c:pt idx="83">
                  <c:v>43069</c:v>
                </c:pt>
                <c:pt idx="84">
                  <c:v>43100</c:v>
                </c:pt>
                <c:pt idx="85">
                  <c:v>43131</c:v>
                </c:pt>
                <c:pt idx="86">
                  <c:v>43159</c:v>
                </c:pt>
                <c:pt idx="87">
                  <c:v>43190</c:v>
                </c:pt>
                <c:pt idx="88">
                  <c:v>43220</c:v>
                </c:pt>
                <c:pt idx="89">
                  <c:v>43251</c:v>
                </c:pt>
                <c:pt idx="90">
                  <c:v>43281</c:v>
                </c:pt>
                <c:pt idx="91">
                  <c:v>43312</c:v>
                </c:pt>
                <c:pt idx="92">
                  <c:v>43343</c:v>
                </c:pt>
                <c:pt idx="93">
                  <c:v>43373</c:v>
                </c:pt>
                <c:pt idx="94">
                  <c:v>43404</c:v>
                </c:pt>
                <c:pt idx="95">
                  <c:v>43434</c:v>
                </c:pt>
                <c:pt idx="96">
                  <c:v>43465</c:v>
                </c:pt>
                <c:pt idx="97">
                  <c:v>43496</c:v>
                </c:pt>
                <c:pt idx="98">
                  <c:v>43524</c:v>
                </c:pt>
                <c:pt idx="99">
                  <c:v>43555</c:v>
                </c:pt>
                <c:pt idx="100">
                  <c:v>43585</c:v>
                </c:pt>
                <c:pt idx="101">
                  <c:v>43616</c:v>
                </c:pt>
                <c:pt idx="102">
                  <c:v>43646</c:v>
                </c:pt>
                <c:pt idx="103">
                  <c:v>43677</c:v>
                </c:pt>
                <c:pt idx="104">
                  <c:v>43708</c:v>
                </c:pt>
                <c:pt idx="105">
                  <c:v>43738</c:v>
                </c:pt>
                <c:pt idx="106">
                  <c:v>43769</c:v>
                </c:pt>
                <c:pt idx="107">
                  <c:v>43799</c:v>
                </c:pt>
                <c:pt idx="108">
                  <c:v>43830</c:v>
                </c:pt>
                <c:pt idx="109">
                  <c:v>43861</c:v>
                </c:pt>
                <c:pt idx="110">
                  <c:v>43890</c:v>
                </c:pt>
                <c:pt idx="111">
                  <c:v>43921</c:v>
                </c:pt>
                <c:pt idx="112">
                  <c:v>43951</c:v>
                </c:pt>
                <c:pt idx="113">
                  <c:v>43982</c:v>
                </c:pt>
                <c:pt idx="114">
                  <c:v>44012</c:v>
                </c:pt>
                <c:pt idx="115">
                  <c:v>44043</c:v>
                </c:pt>
                <c:pt idx="116">
                  <c:v>44074</c:v>
                </c:pt>
                <c:pt idx="117">
                  <c:v>44104</c:v>
                </c:pt>
                <c:pt idx="118">
                  <c:v>44135</c:v>
                </c:pt>
                <c:pt idx="119">
                  <c:v>44165</c:v>
                </c:pt>
                <c:pt idx="120">
                  <c:v>44196</c:v>
                </c:pt>
                <c:pt idx="121">
                  <c:v>44227</c:v>
                </c:pt>
                <c:pt idx="122">
                  <c:v>44255</c:v>
                </c:pt>
                <c:pt idx="123">
                  <c:v>44286</c:v>
                </c:pt>
                <c:pt idx="124">
                  <c:v>44316</c:v>
                </c:pt>
                <c:pt idx="125">
                  <c:v>44347</c:v>
                </c:pt>
                <c:pt idx="126">
                  <c:v>44377</c:v>
                </c:pt>
                <c:pt idx="127">
                  <c:v>44408</c:v>
                </c:pt>
                <c:pt idx="128">
                  <c:v>44439</c:v>
                </c:pt>
                <c:pt idx="129">
                  <c:v>44469</c:v>
                </c:pt>
                <c:pt idx="130">
                  <c:v>44500</c:v>
                </c:pt>
                <c:pt idx="131">
                  <c:v>44530</c:v>
                </c:pt>
                <c:pt idx="132">
                  <c:v>44561</c:v>
                </c:pt>
                <c:pt idx="133">
                  <c:v>44592</c:v>
                </c:pt>
                <c:pt idx="134">
                  <c:v>44620</c:v>
                </c:pt>
                <c:pt idx="135">
                  <c:v>44651</c:v>
                </c:pt>
                <c:pt idx="136">
                  <c:v>44681</c:v>
                </c:pt>
                <c:pt idx="137">
                  <c:v>44712</c:v>
                </c:pt>
                <c:pt idx="138">
                  <c:v>44742</c:v>
                </c:pt>
                <c:pt idx="139">
                  <c:v>44773</c:v>
                </c:pt>
                <c:pt idx="140">
                  <c:v>44804</c:v>
                </c:pt>
                <c:pt idx="141">
                  <c:v>44834</c:v>
                </c:pt>
                <c:pt idx="142">
                  <c:v>44865</c:v>
                </c:pt>
                <c:pt idx="143">
                  <c:v>44895</c:v>
                </c:pt>
                <c:pt idx="144">
                  <c:v>44926</c:v>
                </c:pt>
                <c:pt idx="145">
                  <c:v>44957</c:v>
                </c:pt>
                <c:pt idx="146">
                  <c:v>44985</c:v>
                </c:pt>
                <c:pt idx="147">
                  <c:v>45016</c:v>
                </c:pt>
                <c:pt idx="148">
                  <c:v>45046</c:v>
                </c:pt>
                <c:pt idx="149">
                  <c:v>45077</c:v>
                </c:pt>
                <c:pt idx="150">
                  <c:v>45107</c:v>
                </c:pt>
                <c:pt idx="151">
                  <c:v>45138</c:v>
                </c:pt>
                <c:pt idx="152">
                  <c:v>45169</c:v>
                </c:pt>
                <c:pt idx="153">
                  <c:v>45199</c:v>
                </c:pt>
                <c:pt idx="154">
                  <c:v>45230</c:v>
                </c:pt>
                <c:pt idx="155">
                  <c:v>45260</c:v>
                </c:pt>
                <c:pt idx="156">
                  <c:v>45291</c:v>
                </c:pt>
              </c:numCache>
            </c:numRef>
          </c:cat>
          <c:val>
            <c:numRef>
              <c:f>simplified!$S$11:$S$167</c:f>
              <c:numCache>
                <c:formatCode>#,##0.00</c:formatCode>
                <c:ptCount val="157"/>
                <c:pt idx="0" formatCode="#,##0">
                  <c:v>100000</c:v>
                </c:pt>
                <c:pt idx="1">
                  <c:v>100605.62999953695</c:v>
                </c:pt>
                <c:pt idx="2">
                  <c:v>101057.09441044016</c:v>
                </c:pt>
                <c:pt idx="3">
                  <c:v>101255.60759812528</c:v>
                </c:pt>
                <c:pt idx="4">
                  <c:v>102229.14988836623</c:v>
                </c:pt>
                <c:pt idx="5">
                  <c:v>103224.35747820445</c:v>
                </c:pt>
                <c:pt idx="6">
                  <c:v>103050.44852106688</c:v>
                </c:pt>
                <c:pt idx="7">
                  <c:v>104556.56517685017</c:v>
                </c:pt>
                <c:pt idx="8">
                  <c:v>104051.57439270173</c:v>
                </c:pt>
                <c:pt idx="9">
                  <c:v>103811.26034501103</c:v>
                </c:pt>
                <c:pt idx="10">
                  <c:v>105403.51745609599</c:v>
                </c:pt>
                <c:pt idx="11">
                  <c:v>105126.45728354031</c:v>
                </c:pt>
                <c:pt idx="12">
                  <c:v>106741.84444271569</c:v>
                </c:pt>
                <c:pt idx="13">
                  <c:v>107945.71454507476</c:v>
                </c:pt>
                <c:pt idx="14">
                  <c:v>108487.07309832572</c:v>
                </c:pt>
                <c:pt idx="15">
                  <c:v>108286.11525985099</c:v>
                </c:pt>
                <c:pt idx="16">
                  <c:v>108687.96503382582</c:v>
                </c:pt>
                <c:pt idx="17">
                  <c:v>109419.39518671531</c:v>
                </c:pt>
                <c:pt idx="18">
                  <c:v>110197.25037248404</c:v>
                </c:pt>
                <c:pt idx="19">
                  <c:v>111248.53948683705</c:v>
                </c:pt>
                <c:pt idx="20">
                  <c:v>111687.79692907592</c:v>
                </c:pt>
                <c:pt idx="21">
                  <c:v>112595.18582050815</c:v>
                </c:pt>
                <c:pt idx="22">
                  <c:v>112950.83272714214</c:v>
                </c:pt>
                <c:pt idx="23">
                  <c:v>113588.83550664001</c:v>
                </c:pt>
                <c:pt idx="24">
                  <c:v>114070.2174182758</c:v>
                </c:pt>
                <c:pt idx="25">
                  <c:v>114220.84714088973</c:v>
                </c:pt>
                <c:pt idx="26">
                  <c:v>115065.16002845098</c:v>
                </c:pt>
                <c:pt idx="27">
                  <c:v>115656.48755589922</c:v>
                </c:pt>
                <c:pt idx="28">
                  <c:v>116951.5973388737</c:v>
                </c:pt>
                <c:pt idx="29">
                  <c:v>115980.29483099232</c:v>
                </c:pt>
                <c:pt idx="30">
                  <c:v>113965.15653786185</c:v>
                </c:pt>
                <c:pt idx="31">
                  <c:v>114871.23271674673</c:v>
                </c:pt>
                <c:pt idx="32">
                  <c:v>114371.28247867523</c:v>
                </c:pt>
                <c:pt idx="33">
                  <c:v>115106.78894746263</c:v>
                </c:pt>
                <c:pt idx="34">
                  <c:v>116755.77043670024</c:v>
                </c:pt>
                <c:pt idx="35">
                  <c:v>116924.30349973994</c:v>
                </c:pt>
                <c:pt idx="36">
                  <c:v>116930.57453945841</c:v>
                </c:pt>
                <c:pt idx="37">
                  <c:v>118622.02597027496</c:v>
                </c:pt>
                <c:pt idx="38">
                  <c:v>119655.22777043389</c:v>
                </c:pt>
                <c:pt idx="39">
                  <c:v>119680.76618414506</c:v>
                </c:pt>
                <c:pt idx="40">
                  <c:v>120285.32160702301</c:v>
                </c:pt>
                <c:pt idx="41">
                  <c:v>121341.97603299022</c:v>
                </c:pt>
                <c:pt idx="42">
                  <c:v>121816.23710243293</c:v>
                </c:pt>
                <c:pt idx="43">
                  <c:v>121639.18532196514</c:v>
                </c:pt>
                <c:pt idx="44">
                  <c:v>122865.53131553126</c:v>
                </c:pt>
                <c:pt idx="45">
                  <c:v>121807.22906222883</c:v>
                </c:pt>
                <c:pt idx="46">
                  <c:v>122799.84429222437</c:v>
                </c:pt>
                <c:pt idx="47">
                  <c:v>123379.36541036905</c:v>
                </c:pt>
                <c:pt idx="48">
                  <c:v>123208.01614815714</c:v>
                </c:pt>
                <c:pt idx="49">
                  <c:v>126342.68681480091</c:v>
                </c:pt>
                <c:pt idx="50">
                  <c:v>127229.72618475053</c:v>
                </c:pt>
                <c:pt idx="51">
                  <c:v>126891.78706877197</c:v>
                </c:pt>
                <c:pt idx="52">
                  <c:v>126593.90436907033</c:v>
                </c:pt>
                <c:pt idx="53">
                  <c:v>127019.06999692478</c:v>
                </c:pt>
                <c:pt idx="54">
                  <c:v>126305.64622031337</c:v>
                </c:pt>
                <c:pt idx="55">
                  <c:v>126946.19267391208</c:v>
                </c:pt>
                <c:pt idx="56">
                  <c:v>125783.20898275949</c:v>
                </c:pt>
                <c:pt idx="57">
                  <c:v>124535.77077817534</c:v>
                </c:pt>
                <c:pt idx="58">
                  <c:v>125651.8188443828</c:v>
                </c:pt>
                <c:pt idx="59">
                  <c:v>124920.75980812736</c:v>
                </c:pt>
                <c:pt idx="60">
                  <c:v>124630.81872514939</c:v>
                </c:pt>
                <c:pt idx="61">
                  <c:v>124360.58587456381</c:v>
                </c:pt>
                <c:pt idx="62">
                  <c:v>124716.20326060348</c:v>
                </c:pt>
                <c:pt idx="63">
                  <c:v>126607.45796907178</c:v>
                </c:pt>
                <c:pt idx="64">
                  <c:v>127885.68264360969</c:v>
                </c:pt>
                <c:pt idx="65">
                  <c:v>128569.56412053786</c:v>
                </c:pt>
                <c:pt idx="66">
                  <c:v>129890.81781678862</c:v>
                </c:pt>
                <c:pt idx="67">
                  <c:v>131376.97659783583</c:v>
                </c:pt>
                <c:pt idx="68">
                  <c:v>132319.21665443556</c:v>
                </c:pt>
                <c:pt idx="69">
                  <c:v>132745.80498748497</c:v>
                </c:pt>
                <c:pt idx="70">
                  <c:v>132404.95358369988</c:v>
                </c:pt>
                <c:pt idx="71">
                  <c:v>131037.67383018043</c:v>
                </c:pt>
                <c:pt idx="72">
                  <c:v>131515.7080002134</c:v>
                </c:pt>
                <c:pt idx="73">
                  <c:v>132025.05080160114</c:v>
                </c:pt>
                <c:pt idx="74">
                  <c:v>133153.58773404223</c:v>
                </c:pt>
                <c:pt idx="75">
                  <c:v>133315.61789621972</c:v>
                </c:pt>
                <c:pt idx="76">
                  <c:v>134670.07791030282</c:v>
                </c:pt>
                <c:pt idx="77">
                  <c:v>135478.02206586322</c:v>
                </c:pt>
                <c:pt idx="78">
                  <c:v>134548.04673026761</c:v>
                </c:pt>
                <c:pt idx="79">
                  <c:v>133933.18458232144</c:v>
                </c:pt>
                <c:pt idx="80">
                  <c:v>134773.16440728353</c:v>
                </c:pt>
                <c:pt idx="81">
                  <c:v>134311.18446187512</c:v>
                </c:pt>
                <c:pt idx="82">
                  <c:v>135507.36434664263</c:v>
                </c:pt>
                <c:pt idx="83">
                  <c:v>135789.44099340829</c:v>
                </c:pt>
                <c:pt idx="84">
                  <c:v>135459.10602109716</c:v>
                </c:pt>
                <c:pt idx="85">
                  <c:v>135167.33162173486</c:v>
                </c:pt>
                <c:pt idx="86">
                  <c:v>134881.29501977062</c:v>
                </c:pt>
                <c:pt idx="87">
                  <c:v>135013.04706900945</c:v>
                </c:pt>
                <c:pt idx="88">
                  <c:v>134823.73627483909</c:v>
                </c:pt>
                <c:pt idx="89">
                  <c:v>135165.36164635484</c:v>
                </c:pt>
                <c:pt idx="90">
                  <c:v>135588.72659149452</c:v>
                </c:pt>
                <c:pt idx="91">
                  <c:v>135654.22046606059</c:v>
                </c:pt>
                <c:pt idx="92">
                  <c:v>136478.61377267941</c:v>
                </c:pt>
                <c:pt idx="93">
                  <c:v>136146.71598109766</c:v>
                </c:pt>
                <c:pt idx="94">
                  <c:v>135114.76471795281</c:v>
                </c:pt>
                <c:pt idx="95">
                  <c:v>135567.32711862784</c:v>
                </c:pt>
                <c:pt idx="96">
                  <c:v>135653.23161557814</c:v>
                </c:pt>
                <c:pt idx="97">
                  <c:v>138448.24888698294</c:v>
                </c:pt>
                <c:pt idx="98">
                  <c:v>139363.32258784401</c:v>
                </c:pt>
                <c:pt idx="99">
                  <c:v>141341.76612344343</c:v>
                </c:pt>
                <c:pt idx="100">
                  <c:v>141986.19034957857</c:v>
                </c:pt>
                <c:pt idx="101">
                  <c:v>142494.22640464306</c:v>
                </c:pt>
                <c:pt idx="102">
                  <c:v>144147.36842274235</c:v>
                </c:pt>
                <c:pt idx="103">
                  <c:v>144472.58410552057</c:v>
                </c:pt>
                <c:pt idx="104">
                  <c:v>146022.70751158812</c:v>
                </c:pt>
                <c:pt idx="105">
                  <c:v>145575.52757203943</c:v>
                </c:pt>
                <c:pt idx="106">
                  <c:v>145733.23439414587</c:v>
                </c:pt>
                <c:pt idx="107">
                  <c:v>146314.50597228541</c:v>
                </c:pt>
                <c:pt idx="108">
                  <c:v>146413.91692514758</c:v>
                </c:pt>
                <c:pt idx="109">
                  <c:v>148366.45387826877</c:v>
                </c:pt>
                <c:pt idx="110">
                  <c:v>148322.00823397448</c:v>
                </c:pt>
                <c:pt idx="111">
                  <c:v>141819.01765766699</c:v>
                </c:pt>
                <c:pt idx="112">
                  <c:v>146148.40244654272</c:v>
                </c:pt>
                <c:pt idx="113">
                  <c:v>148573.8618471392</c:v>
                </c:pt>
                <c:pt idx="114">
                  <c:v>150006.56950137232</c:v>
                </c:pt>
                <c:pt idx="115">
                  <c:v>153259.58696618516</c:v>
                </c:pt>
                <c:pt idx="116">
                  <c:v>153094.06150322751</c:v>
                </c:pt>
                <c:pt idx="117">
                  <c:v>152686.71903181943</c:v>
                </c:pt>
                <c:pt idx="118">
                  <c:v>152549.94226866789</c:v>
                </c:pt>
                <c:pt idx="119">
                  <c:v>154939.97780941534</c:v>
                </c:pt>
                <c:pt idx="120">
                  <c:v>156049.51848364231</c:v>
                </c:pt>
                <c:pt idx="121">
                  <c:v>155591.85125405245</c:v>
                </c:pt>
                <c:pt idx="122">
                  <c:v>153950.03566782721</c:v>
                </c:pt>
                <c:pt idx="123">
                  <c:v>153242.7327548138</c:v>
                </c:pt>
                <c:pt idx="124">
                  <c:v>153897.33973606469</c:v>
                </c:pt>
                <c:pt idx="125">
                  <c:v>154374.99090971638</c:v>
                </c:pt>
                <c:pt idx="126">
                  <c:v>155450.59865957039</c:v>
                </c:pt>
                <c:pt idx="127">
                  <c:v>156405.71822704704</c:v>
                </c:pt>
                <c:pt idx="128">
                  <c:v>156657.73997443399</c:v>
                </c:pt>
                <c:pt idx="129">
                  <c:v>156239.92363232424</c:v>
                </c:pt>
                <c:pt idx="130">
                  <c:v>155051.51590119969</c:v>
                </c:pt>
                <c:pt idx="131" formatCode="#,##0">
                  <c:v>155099.91215118518</c:v>
                </c:pt>
                <c:pt idx="132" formatCode="#,##0">
                  <c:v>157098.40112694609</c:v>
                </c:pt>
                <c:pt idx="133" formatCode="#,##0">
                  <c:v>153320.40975527119</c:v>
                </c:pt>
                <c:pt idx="134" formatCode="#,##0">
                  <c:v>152412.51783771356</c:v>
                </c:pt>
                <c:pt idx="135" formatCode="#,##0">
                  <c:v>149464.82417976853</c:v>
                </c:pt>
                <c:pt idx="136" formatCode="#,##0">
                  <c:v>145449.73067876417</c:v>
                </c:pt>
                <c:pt idx="137" formatCode="#,##0">
                  <c:v>145851.97190886963</c:v>
                </c:pt>
                <c:pt idx="138" formatCode="#,##0">
                  <c:v>141075.19828618085</c:v>
                </c:pt>
                <c:pt idx="139" formatCode="#,##0">
                  <c:v>146361.02262581483</c:v>
                </c:pt>
                <c:pt idx="140" formatCode="#,##0">
                  <c:v>142964.21258981133</c:v>
                </c:pt>
                <c:pt idx="141" formatCode="#,##0">
                  <c:v>140746.44688338169</c:v>
                </c:pt>
                <c:pt idx="142" formatCode="#,##0">
                  <c:v>141643.35361625536</c:v>
                </c:pt>
                <c:pt idx="143" formatCode="#,##0">
                  <c:v>144359.27993579171</c:v>
                </c:pt>
                <c:pt idx="144" formatCode="#,##0">
                  <c:v>143096.11217565785</c:v>
                </c:pt>
                <c:pt idx="145" formatCode="#,##0">
                  <c:v>146912.17067601063</c:v>
                </c:pt>
                <c:pt idx="146" formatCode="#,##0">
                  <c:v>144813.93187775824</c:v>
                </c:pt>
                <c:pt idx="147" formatCode="#,##0">
                  <c:v>147128.02954734911</c:v>
                </c:pt>
                <c:pt idx="148" formatCode="#,##0">
                  <c:v>148218.16977782454</c:v>
                </c:pt>
                <c:pt idx="149" formatCode="#,##0">
                  <c:v>146421.39995494124</c:v>
                </c:pt>
                <c:pt idx="150" formatCode="#,##0">
                  <c:v>146898.95335146718</c:v>
                </c:pt>
                <c:pt idx="151" formatCode="#,##0">
                  <c:v>146918.35870273504</c:v>
                </c:pt>
                <c:pt idx="152" formatCode="#,##0">
                  <c:v>147084.20994087792</c:v>
                </c:pt>
                <c:pt idx="153" formatCode="#,##0">
                  <c:v>144976.49321187136</c:v>
                </c:pt>
                <c:pt idx="154" formatCode="#,##0">
                  <c:v>145033.29983484306</c:v>
                </c:pt>
                <c:pt idx="155" formatCode="#,##0">
                  <c:v>150105.573601607</c:v>
                </c:pt>
                <c:pt idx="156" formatCode="#,##0">
                  <c:v>154211.01107480217</c:v>
                </c:pt>
              </c:numCache>
            </c:numRef>
          </c:val>
          <c:smooth val="0"/>
          <c:extLst>
            <c:ext xmlns:c16="http://schemas.microsoft.com/office/drawing/2014/chart" uri="{C3380CC4-5D6E-409C-BE32-E72D297353CC}">
              <c16:uniqueId val="{00000002-A6BE-4121-B975-02A384981E67}"/>
            </c:ext>
          </c:extLst>
        </c:ser>
        <c:dLbls>
          <c:showLegendKey val="0"/>
          <c:showVal val="0"/>
          <c:showCatName val="0"/>
          <c:showSerName val="0"/>
          <c:showPercent val="0"/>
          <c:showBubbleSize val="0"/>
        </c:dLbls>
        <c:smooth val="0"/>
        <c:axId val="447610640"/>
        <c:axId val="436702016"/>
      </c:lineChart>
      <c:dateAx>
        <c:axId val="447610640"/>
        <c:scaling>
          <c:orientation val="minMax"/>
        </c:scaling>
        <c:delete val="0"/>
        <c:axPos val="b"/>
        <c:numFmt formatCode="[$-409]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36702016"/>
        <c:crosses val="autoZero"/>
        <c:auto val="1"/>
        <c:lblOffset val="100"/>
        <c:baseTimeUnit val="months"/>
        <c:majorUnit val="12"/>
        <c:majorTimeUnit val="months"/>
      </c:dateAx>
      <c:valAx>
        <c:axId val="436702016"/>
        <c:scaling>
          <c:orientation val="minMax"/>
          <c:min val="80000"/>
        </c:scaling>
        <c:delete val="1"/>
        <c:axPos val="l"/>
        <c:numFmt formatCode="#,##0" sourceLinked="1"/>
        <c:majorTickMark val="none"/>
        <c:minorTickMark val="none"/>
        <c:tickLblPos val="nextTo"/>
        <c:crossAx val="447610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sz="1400" b="1" dirty="0">
                <a:solidFill>
                  <a:schemeClr val="tx1"/>
                </a:solidFill>
              </a:rPr>
              <a:t>Comparing annual inflation to the average</a:t>
            </a:r>
            <a:r>
              <a:rPr lang="en-US" sz="1400" b="1" baseline="0" dirty="0">
                <a:solidFill>
                  <a:schemeClr val="tx1"/>
                </a:solidFill>
              </a:rPr>
              <a:t> annualized return of cash, bonds, and equities since 1991</a:t>
            </a:r>
            <a:endParaRPr lang="en-US" sz="1400" b="1" dirty="0">
              <a:solidFill>
                <a:schemeClr val="tx1"/>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5.9093967382605597E-2"/>
          <c:y val="6.0648148148148159E-2"/>
          <c:w val="0.87804337260448839"/>
          <c:h val="0.90008530183727031"/>
        </c:manualLayout>
      </c:layout>
      <c:areaChart>
        <c:grouping val="standard"/>
        <c:varyColors val="0"/>
        <c:ser>
          <c:idx val="1"/>
          <c:order val="1"/>
          <c:tx>
            <c:strRef>
              <c:f>Sheet15!$C$2</c:f>
              <c:strCache>
                <c:ptCount val="1"/>
                <c:pt idx="0">
                  <c:v>Inflation</c:v>
                </c:pt>
              </c:strCache>
            </c:strRef>
          </c:tx>
          <c:spPr>
            <a:solidFill>
              <a:schemeClr val="accent3">
                <a:lumMod val="40000"/>
                <a:lumOff val="60000"/>
              </a:schemeClr>
            </a:solidFill>
            <a:ln w="3175">
              <a:solidFill>
                <a:schemeClr val="accent3">
                  <a:lumMod val="75000"/>
                </a:schemeClr>
              </a:solidFill>
            </a:ln>
            <a:effectLst/>
          </c:spPr>
          <c:cat>
            <c:numRef>
              <c:f>Sheet15!$A$3:$A$495</c:f>
              <c:numCache>
                <c:formatCode>mmm\-yy</c:formatCode>
                <c:ptCount val="397"/>
                <c:pt idx="0">
                  <c:v>33239</c:v>
                </c:pt>
                <c:pt idx="1">
                  <c:v>33270</c:v>
                </c:pt>
                <c:pt idx="2">
                  <c:v>33298</c:v>
                </c:pt>
                <c:pt idx="3">
                  <c:v>33329</c:v>
                </c:pt>
                <c:pt idx="4">
                  <c:v>33359</c:v>
                </c:pt>
                <c:pt idx="5">
                  <c:v>33390</c:v>
                </c:pt>
                <c:pt idx="6">
                  <c:v>33420</c:v>
                </c:pt>
                <c:pt idx="7">
                  <c:v>33451</c:v>
                </c:pt>
                <c:pt idx="8">
                  <c:v>33482</c:v>
                </c:pt>
                <c:pt idx="9">
                  <c:v>33512</c:v>
                </c:pt>
                <c:pt idx="10">
                  <c:v>33543</c:v>
                </c:pt>
                <c:pt idx="11">
                  <c:v>33573</c:v>
                </c:pt>
                <c:pt idx="12">
                  <c:v>33604</c:v>
                </c:pt>
                <c:pt idx="13">
                  <c:v>33635</c:v>
                </c:pt>
                <c:pt idx="14">
                  <c:v>33664</c:v>
                </c:pt>
                <c:pt idx="15">
                  <c:v>33695</c:v>
                </c:pt>
                <c:pt idx="16">
                  <c:v>33725</c:v>
                </c:pt>
                <c:pt idx="17">
                  <c:v>33756</c:v>
                </c:pt>
                <c:pt idx="18">
                  <c:v>33786</c:v>
                </c:pt>
                <c:pt idx="19">
                  <c:v>33817</c:v>
                </c:pt>
                <c:pt idx="20">
                  <c:v>33848</c:v>
                </c:pt>
                <c:pt idx="21">
                  <c:v>33878</c:v>
                </c:pt>
                <c:pt idx="22">
                  <c:v>33909</c:v>
                </c:pt>
                <c:pt idx="23">
                  <c:v>33939</c:v>
                </c:pt>
                <c:pt idx="24">
                  <c:v>33970</c:v>
                </c:pt>
                <c:pt idx="25">
                  <c:v>34001</c:v>
                </c:pt>
                <c:pt idx="26">
                  <c:v>34029</c:v>
                </c:pt>
                <c:pt idx="27">
                  <c:v>34060</c:v>
                </c:pt>
                <c:pt idx="28">
                  <c:v>34090</c:v>
                </c:pt>
                <c:pt idx="29">
                  <c:v>34121</c:v>
                </c:pt>
                <c:pt idx="30">
                  <c:v>34151</c:v>
                </c:pt>
                <c:pt idx="31">
                  <c:v>34182</c:v>
                </c:pt>
                <c:pt idx="32">
                  <c:v>34213</c:v>
                </c:pt>
                <c:pt idx="33">
                  <c:v>34243</c:v>
                </c:pt>
                <c:pt idx="34">
                  <c:v>34274</c:v>
                </c:pt>
                <c:pt idx="35">
                  <c:v>34304</c:v>
                </c:pt>
                <c:pt idx="36">
                  <c:v>34335</c:v>
                </c:pt>
                <c:pt idx="37">
                  <c:v>34366</c:v>
                </c:pt>
                <c:pt idx="38">
                  <c:v>34394</c:v>
                </c:pt>
                <c:pt idx="39">
                  <c:v>34425</c:v>
                </c:pt>
                <c:pt idx="40">
                  <c:v>34455</c:v>
                </c:pt>
                <c:pt idx="41">
                  <c:v>34486</c:v>
                </c:pt>
                <c:pt idx="42">
                  <c:v>34516</c:v>
                </c:pt>
                <c:pt idx="43">
                  <c:v>34547</c:v>
                </c:pt>
                <c:pt idx="44">
                  <c:v>34578</c:v>
                </c:pt>
                <c:pt idx="45">
                  <c:v>34608</c:v>
                </c:pt>
                <c:pt idx="46">
                  <c:v>34639</c:v>
                </c:pt>
                <c:pt idx="47">
                  <c:v>34669</c:v>
                </c:pt>
                <c:pt idx="48">
                  <c:v>34700</c:v>
                </c:pt>
                <c:pt idx="49">
                  <c:v>34731</c:v>
                </c:pt>
                <c:pt idx="50">
                  <c:v>34759</c:v>
                </c:pt>
                <c:pt idx="51">
                  <c:v>34790</c:v>
                </c:pt>
                <c:pt idx="52">
                  <c:v>34820</c:v>
                </c:pt>
                <c:pt idx="53">
                  <c:v>34851</c:v>
                </c:pt>
                <c:pt idx="54">
                  <c:v>34881</c:v>
                </c:pt>
                <c:pt idx="55">
                  <c:v>34912</c:v>
                </c:pt>
                <c:pt idx="56">
                  <c:v>34943</c:v>
                </c:pt>
                <c:pt idx="57">
                  <c:v>34973</c:v>
                </c:pt>
                <c:pt idx="58">
                  <c:v>35004</c:v>
                </c:pt>
                <c:pt idx="59">
                  <c:v>35034</c:v>
                </c:pt>
                <c:pt idx="60">
                  <c:v>35065</c:v>
                </c:pt>
                <c:pt idx="61">
                  <c:v>35096</c:v>
                </c:pt>
                <c:pt idx="62">
                  <c:v>35125</c:v>
                </c:pt>
                <c:pt idx="63">
                  <c:v>35156</c:v>
                </c:pt>
                <c:pt idx="64">
                  <c:v>35186</c:v>
                </c:pt>
                <c:pt idx="65">
                  <c:v>35217</c:v>
                </c:pt>
                <c:pt idx="66">
                  <c:v>35247</c:v>
                </c:pt>
                <c:pt idx="67">
                  <c:v>35278</c:v>
                </c:pt>
                <c:pt idx="68">
                  <c:v>35309</c:v>
                </c:pt>
                <c:pt idx="69">
                  <c:v>35339</c:v>
                </c:pt>
                <c:pt idx="70">
                  <c:v>35370</c:v>
                </c:pt>
                <c:pt idx="71">
                  <c:v>35400</c:v>
                </c:pt>
                <c:pt idx="72">
                  <c:v>35431</c:v>
                </c:pt>
                <c:pt idx="73">
                  <c:v>35462</c:v>
                </c:pt>
                <c:pt idx="74">
                  <c:v>35490</c:v>
                </c:pt>
                <c:pt idx="75">
                  <c:v>35521</c:v>
                </c:pt>
                <c:pt idx="76">
                  <c:v>35551</c:v>
                </c:pt>
                <c:pt idx="77">
                  <c:v>35582</c:v>
                </c:pt>
                <c:pt idx="78">
                  <c:v>35612</c:v>
                </c:pt>
                <c:pt idx="79">
                  <c:v>35643</c:v>
                </c:pt>
                <c:pt idx="80">
                  <c:v>35674</c:v>
                </c:pt>
                <c:pt idx="81">
                  <c:v>35704</c:v>
                </c:pt>
                <c:pt idx="82">
                  <c:v>35735</c:v>
                </c:pt>
                <c:pt idx="83">
                  <c:v>35765</c:v>
                </c:pt>
                <c:pt idx="84">
                  <c:v>35796</c:v>
                </c:pt>
                <c:pt idx="85">
                  <c:v>35827</c:v>
                </c:pt>
                <c:pt idx="86">
                  <c:v>35855</c:v>
                </c:pt>
                <c:pt idx="87">
                  <c:v>35886</c:v>
                </c:pt>
                <c:pt idx="88">
                  <c:v>35916</c:v>
                </c:pt>
                <c:pt idx="89">
                  <c:v>35947</c:v>
                </c:pt>
                <c:pt idx="90">
                  <c:v>35977</c:v>
                </c:pt>
                <c:pt idx="91">
                  <c:v>36008</c:v>
                </c:pt>
                <c:pt idx="92">
                  <c:v>36039</c:v>
                </c:pt>
                <c:pt idx="93">
                  <c:v>36069</c:v>
                </c:pt>
                <c:pt idx="94">
                  <c:v>36100</c:v>
                </c:pt>
                <c:pt idx="95">
                  <c:v>36130</c:v>
                </c:pt>
                <c:pt idx="96">
                  <c:v>36161</c:v>
                </c:pt>
                <c:pt idx="97">
                  <c:v>36192</c:v>
                </c:pt>
                <c:pt idx="98">
                  <c:v>36220</c:v>
                </c:pt>
                <c:pt idx="99">
                  <c:v>36251</c:v>
                </c:pt>
                <c:pt idx="100">
                  <c:v>36281</c:v>
                </c:pt>
                <c:pt idx="101">
                  <c:v>36312</c:v>
                </c:pt>
                <c:pt idx="102">
                  <c:v>36342</c:v>
                </c:pt>
                <c:pt idx="103">
                  <c:v>36373</c:v>
                </c:pt>
                <c:pt idx="104">
                  <c:v>36404</c:v>
                </c:pt>
                <c:pt idx="105">
                  <c:v>36434</c:v>
                </c:pt>
                <c:pt idx="106">
                  <c:v>36465</c:v>
                </c:pt>
                <c:pt idx="107">
                  <c:v>36495</c:v>
                </c:pt>
                <c:pt idx="108">
                  <c:v>36526</c:v>
                </c:pt>
                <c:pt idx="109">
                  <c:v>36557</c:v>
                </c:pt>
                <c:pt idx="110">
                  <c:v>36586</c:v>
                </c:pt>
                <c:pt idx="111">
                  <c:v>36617</c:v>
                </c:pt>
                <c:pt idx="112">
                  <c:v>36647</c:v>
                </c:pt>
                <c:pt idx="113">
                  <c:v>36678</c:v>
                </c:pt>
                <c:pt idx="114">
                  <c:v>36708</c:v>
                </c:pt>
                <c:pt idx="115">
                  <c:v>36739</c:v>
                </c:pt>
                <c:pt idx="116">
                  <c:v>36770</c:v>
                </c:pt>
                <c:pt idx="117">
                  <c:v>36800</c:v>
                </c:pt>
                <c:pt idx="118">
                  <c:v>36831</c:v>
                </c:pt>
                <c:pt idx="119">
                  <c:v>36861</c:v>
                </c:pt>
                <c:pt idx="120">
                  <c:v>36892</c:v>
                </c:pt>
                <c:pt idx="121">
                  <c:v>36923</c:v>
                </c:pt>
                <c:pt idx="122">
                  <c:v>36951</c:v>
                </c:pt>
                <c:pt idx="123">
                  <c:v>36982</c:v>
                </c:pt>
                <c:pt idx="124">
                  <c:v>37012</c:v>
                </c:pt>
                <c:pt idx="125">
                  <c:v>37043</c:v>
                </c:pt>
                <c:pt idx="126">
                  <c:v>37073</c:v>
                </c:pt>
                <c:pt idx="127">
                  <c:v>37104</c:v>
                </c:pt>
                <c:pt idx="128">
                  <c:v>37135</c:v>
                </c:pt>
                <c:pt idx="129">
                  <c:v>37165</c:v>
                </c:pt>
                <c:pt idx="130">
                  <c:v>37196</c:v>
                </c:pt>
                <c:pt idx="131">
                  <c:v>37226</c:v>
                </c:pt>
                <c:pt idx="132">
                  <c:v>37257</c:v>
                </c:pt>
                <c:pt idx="133">
                  <c:v>37288</c:v>
                </c:pt>
                <c:pt idx="134">
                  <c:v>37316</c:v>
                </c:pt>
                <c:pt idx="135">
                  <c:v>37347</c:v>
                </c:pt>
                <c:pt idx="136">
                  <c:v>37377</c:v>
                </c:pt>
                <c:pt idx="137">
                  <c:v>37408</c:v>
                </c:pt>
                <c:pt idx="138">
                  <c:v>37438</c:v>
                </c:pt>
                <c:pt idx="139">
                  <c:v>37469</c:v>
                </c:pt>
                <c:pt idx="140">
                  <c:v>37500</c:v>
                </c:pt>
                <c:pt idx="141">
                  <c:v>37530</c:v>
                </c:pt>
                <c:pt idx="142">
                  <c:v>37561</c:v>
                </c:pt>
                <c:pt idx="143">
                  <c:v>37591</c:v>
                </c:pt>
                <c:pt idx="144">
                  <c:v>37622</c:v>
                </c:pt>
                <c:pt idx="145">
                  <c:v>37653</c:v>
                </c:pt>
                <c:pt idx="146">
                  <c:v>37681</c:v>
                </c:pt>
                <c:pt idx="147">
                  <c:v>37712</c:v>
                </c:pt>
                <c:pt idx="148">
                  <c:v>37742</c:v>
                </c:pt>
                <c:pt idx="149">
                  <c:v>37773</c:v>
                </c:pt>
                <c:pt idx="150">
                  <c:v>37803</c:v>
                </c:pt>
                <c:pt idx="151">
                  <c:v>37834</c:v>
                </c:pt>
                <c:pt idx="152">
                  <c:v>37865</c:v>
                </c:pt>
                <c:pt idx="153">
                  <c:v>37895</c:v>
                </c:pt>
                <c:pt idx="154">
                  <c:v>37926</c:v>
                </c:pt>
                <c:pt idx="155">
                  <c:v>37956</c:v>
                </c:pt>
                <c:pt idx="156">
                  <c:v>37987</c:v>
                </c:pt>
                <c:pt idx="157">
                  <c:v>38018</c:v>
                </c:pt>
                <c:pt idx="158">
                  <c:v>38047</c:v>
                </c:pt>
                <c:pt idx="159">
                  <c:v>38078</c:v>
                </c:pt>
                <c:pt idx="160">
                  <c:v>38108</c:v>
                </c:pt>
                <c:pt idx="161">
                  <c:v>38139</c:v>
                </c:pt>
                <c:pt idx="162">
                  <c:v>38169</c:v>
                </c:pt>
                <c:pt idx="163">
                  <c:v>38200</c:v>
                </c:pt>
                <c:pt idx="164">
                  <c:v>38231</c:v>
                </c:pt>
                <c:pt idx="165">
                  <c:v>38261</c:v>
                </c:pt>
                <c:pt idx="166">
                  <c:v>38292</c:v>
                </c:pt>
                <c:pt idx="167">
                  <c:v>38322</c:v>
                </c:pt>
                <c:pt idx="168">
                  <c:v>38353</c:v>
                </c:pt>
                <c:pt idx="169">
                  <c:v>38384</c:v>
                </c:pt>
                <c:pt idx="170">
                  <c:v>38412</c:v>
                </c:pt>
                <c:pt idx="171">
                  <c:v>38443</c:v>
                </c:pt>
                <c:pt idx="172">
                  <c:v>38473</c:v>
                </c:pt>
                <c:pt idx="173">
                  <c:v>38504</c:v>
                </c:pt>
                <c:pt idx="174">
                  <c:v>38534</c:v>
                </c:pt>
                <c:pt idx="175">
                  <c:v>38565</c:v>
                </c:pt>
                <c:pt idx="176">
                  <c:v>38596</c:v>
                </c:pt>
                <c:pt idx="177">
                  <c:v>38626</c:v>
                </c:pt>
                <c:pt idx="178">
                  <c:v>38657</c:v>
                </c:pt>
                <c:pt idx="179">
                  <c:v>38687</c:v>
                </c:pt>
                <c:pt idx="180">
                  <c:v>38718</c:v>
                </c:pt>
                <c:pt idx="181">
                  <c:v>38749</c:v>
                </c:pt>
                <c:pt idx="182">
                  <c:v>38777</c:v>
                </c:pt>
                <c:pt idx="183">
                  <c:v>38808</c:v>
                </c:pt>
                <c:pt idx="184">
                  <c:v>38838</c:v>
                </c:pt>
                <c:pt idx="185">
                  <c:v>38869</c:v>
                </c:pt>
                <c:pt idx="186">
                  <c:v>38899</c:v>
                </c:pt>
                <c:pt idx="187">
                  <c:v>38930</c:v>
                </c:pt>
                <c:pt idx="188">
                  <c:v>38961</c:v>
                </c:pt>
                <c:pt idx="189">
                  <c:v>38991</c:v>
                </c:pt>
                <c:pt idx="190">
                  <c:v>39022</c:v>
                </c:pt>
                <c:pt idx="191">
                  <c:v>39052</c:v>
                </c:pt>
                <c:pt idx="192">
                  <c:v>39083</c:v>
                </c:pt>
                <c:pt idx="193">
                  <c:v>39114</c:v>
                </c:pt>
                <c:pt idx="194">
                  <c:v>39142</c:v>
                </c:pt>
                <c:pt idx="195">
                  <c:v>39173</c:v>
                </c:pt>
                <c:pt idx="196">
                  <c:v>39203</c:v>
                </c:pt>
                <c:pt idx="197">
                  <c:v>39234</c:v>
                </c:pt>
                <c:pt idx="198">
                  <c:v>39264</c:v>
                </c:pt>
                <c:pt idx="199">
                  <c:v>39295</c:v>
                </c:pt>
                <c:pt idx="200">
                  <c:v>39326</c:v>
                </c:pt>
                <c:pt idx="201">
                  <c:v>39356</c:v>
                </c:pt>
                <c:pt idx="202">
                  <c:v>39387</c:v>
                </c:pt>
                <c:pt idx="203">
                  <c:v>39417</c:v>
                </c:pt>
                <c:pt idx="204">
                  <c:v>39448</c:v>
                </c:pt>
                <c:pt idx="205">
                  <c:v>39479</c:v>
                </c:pt>
                <c:pt idx="206">
                  <c:v>39508</c:v>
                </c:pt>
                <c:pt idx="207">
                  <c:v>39539</c:v>
                </c:pt>
                <c:pt idx="208">
                  <c:v>39569</c:v>
                </c:pt>
                <c:pt idx="209">
                  <c:v>39600</c:v>
                </c:pt>
                <c:pt idx="210">
                  <c:v>39630</c:v>
                </c:pt>
                <c:pt idx="211">
                  <c:v>39661</c:v>
                </c:pt>
                <c:pt idx="212">
                  <c:v>39692</c:v>
                </c:pt>
                <c:pt idx="213">
                  <c:v>39722</c:v>
                </c:pt>
                <c:pt idx="214">
                  <c:v>39753</c:v>
                </c:pt>
                <c:pt idx="215">
                  <c:v>39783</c:v>
                </c:pt>
                <c:pt idx="216">
                  <c:v>39814</c:v>
                </c:pt>
                <c:pt idx="217">
                  <c:v>39845</c:v>
                </c:pt>
                <c:pt idx="218">
                  <c:v>39873</c:v>
                </c:pt>
                <c:pt idx="219">
                  <c:v>39904</c:v>
                </c:pt>
                <c:pt idx="220">
                  <c:v>39934</c:v>
                </c:pt>
                <c:pt idx="221">
                  <c:v>39965</c:v>
                </c:pt>
                <c:pt idx="222">
                  <c:v>39995</c:v>
                </c:pt>
                <c:pt idx="223">
                  <c:v>40026</c:v>
                </c:pt>
                <c:pt idx="224">
                  <c:v>40057</c:v>
                </c:pt>
                <c:pt idx="225">
                  <c:v>40087</c:v>
                </c:pt>
                <c:pt idx="226">
                  <c:v>40118</c:v>
                </c:pt>
                <c:pt idx="227">
                  <c:v>40148</c:v>
                </c:pt>
                <c:pt idx="228">
                  <c:v>40179</c:v>
                </c:pt>
                <c:pt idx="229">
                  <c:v>40210</c:v>
                </c:pt>
                <c:pt idx="230">
                  <c:v>40238</c:v>
                </c:pt>
                <c:pt idx="231">
                  <c:v>40269</c:v>
                </c:pt>
                <c:pt idx="232">
                  <c:v>40299</c:v>
                </c:pt>
                <c:pt idx="233">
                  <c:v>40330</c:v>
                </c:pt>
                <c:pt idx="234">
                  <c:v>40360</c:v>
                </c:pt>
                <c:pt idx="235">
                  <c:v>40391</c:v>
                </c:pt>
                <c:pt idx="236">
                  <c:v>40422</c:v>
                </c:pt>
                <c:pt idx="237">
                  <c:v>40452</c:v>
                </c:pt>
                <c:pt idx="238">
                  <c:v>40483</c:v>
                </c:pt>
                <c:pt idx="239">
                  <c:v>40513</c:v>
                </c:pt>
                <c:pt idx="240">
                  <c:v>40544</c:v>
                </c:pt>
                <c:pt idx="241">
                  <c:v>40575</c:v>
                </c:pt>
                <c:pt idx="242">
                  <c:v>40603</c:v>
                </c:pt>
                <c:pt idx="243">
                  <c:v>40634</c:v>
                </c:pt>
                <c:pt idx="244">
                  <c:v>40664</c:v>
                </c:pt>
                <c:pt idx="245">
                  <c:v>40695</c:v>
                </c:pt>
                <c:pt idx="246">
                  <c:v>40725</c:v>
                </c:pt>
                <c:pt idx="247">
                  <c:v>40756</c:v>
                </c:pt>
                <c:pt idx="248">
                  <c:v>40787</c:v>
                </c:pt>
                <c:pt idx="249">
                  <c:v>40817</c:v>
                </c:pt>
                <c:pt idx="250">
                  <c:v>40848</c:v>
                </c:pt>
                <c:pt idx="251">
                  <c:v>40878</c:v>
                </c:pt>
                <c:pt idx="252">
                  <c:v>40909</c:v>
                </c:pt>
                <c:pt idx="253">
                  <c:v>40940</c:v>
                </c:pt>
                <c:pt idx="254">
                  <c:v>40969</c:v>
                </c:pt>
                <c:pt idx="255">
                  <c:v>41000</c:v>
                </c:pt>
                <c:pt idx="256">
                  <c:v>41030</c:v>
                </c:pt>
                <c:pt idx="257">
                  <c:v>41061</c:v>
                </c:pt>
                <c:pt idx="258">
                  <c:v>41091</c:v>
                </c:pt>
                <c:pt idx="259">
                  <c:v>41122</c:v>
                </c:pt>
                <c:pt idx="260">
                  <c:v>41153</c:v>
                </c:pt>
                <c:pt idx="261">
                  <c:v>41183</c:v>
                </c:pt>
                <c:pt idx="262">
                  <c:v>41214</c:v>
                </c:pt>
                <c:pt idx="263">
                  <c:v>41244</c:v>
                </c:pt>
                <c:pt idx="264">
                  <c:v>41275</c:v>
                </c:pt>
                <c:pt idx="265">
                  <c:v>41306</c:v>
                </c:pt>
                <c:pt idx="266">
                  <c:v>41334</c:v>
                </c:pt>
                <c:pt idx="267">
                  <c:v>41365</c:v>
                </c:pt>
                <c:pt idx="268">
                  <c:v>41395</c:v>
                </c:pt>
                <c:pt idx="269">
                  <c:v>41426</c:v>
                </c:pt>
                <c:pt idx="270">
                  <c:v>41456</c:v>
                </c:pt>
                <c:pt idx="271">
                  <c:v>41487</c:v>
                </c:pt>
                <c:pt idx="272">
                  <c:v>41518</c:v>
                </c:pt>
                <c:pt idx="273">
                  <c:v>41548</c:v>
                </c:pt>
                <c:pt idx="274">
                  <c:v>41579</c:v>
                </c:pt>
                <c:pt idx="275">
                  <c:v>41609</c:v>
                </c:pt>
                <c:pt idx="276">
                  <c:v>41640</c:v>
                </c:pt>
                <c:pt idx="277">
                  <c:v>41671</c:v>
                </c:pt>
                <c:pt idx="278">
                  <c:v>41699</c:v>
                </c:pt>
                <c:pt idx="279">
                  <c:v>41730</c:v>
                </c:pt>
                <c:pt idx="280">
                  <c:v>41760</c:v>
                </c:pt>
                <c:pt idx="281">
                  <c:v>41791</c:v>
                </c:pt>
                <c:pt idx="282">
                  <c:v>41821</c:v>
                </c:pt>
                <c:pt idx="283">
                  <c:v>41852</c:v>
                </c:pt>
                <c:pt idx="284">
                  <c:v>41883</c:v>
                </c:pt>
                <c:pt idx="285">
                  <c:v>41913</c:v>
                </c:pt>
                <c:pt idx="286">
                  <c:v>41944</c:v>
                </c:pt>
                <c:pt idx="287">
                  <c:v>41974</c:v>
                </c:pt>
                <c:pt idx="288">
                  <c:v>42005</c:v>
                </c:pt>
                <c:pt idx="289">
                  <c:v>42036</c:v>
                </c:pt>
                <c:pt idx="290">
                  <c:v>42064</c:v>
                </c:pt>
                <c:pt idx="291">
                  <c:v>42095</c:v>
                </c:pt>
                <c:pt idx="292">
                  <c:v>42125</c:v>
                </c:pt>
                <c:pt idx="293">
                  <c:v>42156</c:v>
                </c:pt>
                <c:pt idx="294">
                  <c:v>42186</c:v>
                </c:pt>
                <c:pt idx="295">
                  <c:v>42217</c:v>
                </c:pt>
                <c:pt idx="296">
                  <c:v>42248</c:v>
                </c:pt>
                <c:pt idx="297">
                  <c:v>42278</c:v>
                </c:pt>
                <c:pt idx="298">
                  <c:v>42309</c:v>
                </c:pt>
                <c:pt idx="299">
                  <c:v>42339</c:v>
                </c:pt>
                <c:pt idx="300">
                  <c:v>42370</c:v>
                </c:pt>
                <c:pt idx="301">
                  <c:v>42401</c:v>
                </c:pt>
                <c:pt idx="302">
                  <c:v>42430</c:v>
                </c:pt>
                <c:pt idx="303">
                  <c:v>42461</c:v>
                </c:pt>
                <c:pt idx="304">
                  <c:v>42491</c:v>
                </c:pt>
                <c:pt idx="305">
                  <c:v>42522</c:v>
                </c:pt>
                <c:pt idx="306">
                  <c:v>42552</c:v>
                </c:pt>
                <c:pt idx="307">
                  <c:v>42583</c:v>
                </c:pt>
                <c:pt idx="308">
                  <c:v>42614</c:v>
                </c:pt>
                <c:pt idx="309">
                  <c:v>42644</c:v>
                </c:pt>
                <c:pt idx="310">
                  <c:v>42675</c:v>
                </c:pt>
                <c:pt idx="311">
                  <c:v>42705</c:v>
                </c:pt>
                <c:pt idx="312">
                  <c:v>42736</c:v>
                </c:pt>
                <c:pt idx="313">
                  <c:v>42767</c:v>
                </c:pt>
                <c:pt idx="314">
                  <c:v>42795</c:v>
                </c:pt>
                <c:pt idx="315">
                  <c:v>42826</c:v>
                </c:pt>
                <c:pt idx="316">
                  <c:v>42856</c:v>
                </c:pt>
                <c:pt idx="317">
                  <c:v>42887</c:v>
                </c:pt>
                <c:pt idx="318">
                  <c:v>42917</c:v>
                </c:pt>
                <c:pt idx="319">
                  <c:v>42948</c:v>
                </c:pt>
                <c:pt idx="320">
                  <c:v>42979</c:v>
                </c:pt>
                <c:pt idx="321">
                  <c:v>43009</c:v>
                </c:pt>
                <c:pt idx="322">
                  <c:v>43040</c:v>
                </c:pt>
                <c:pt idx="323">
                  <c:v>43070</c:v>
                </c:pt>
                <c:pt idx="324">
                  <c:v>43101</c:v>
                </c:pt>
                <c:pt idx="325">
                  <c:v>43132</c:v>
                </c:pt>
                <c:pt idx="326">
                  <c:v>43160</c:v>
                </c:pt>
                <c:pt idx="327">
                  <c:v>43191</c:v>
                </c:pt>
                <c:pt idx="328">
                  <c:v>43221</c:v>
                </c:pt>
                <c:pt idx="329">
                  <c:v>43252</c:v>
                </c:pt>
                <c:pt idx="330">
                  <c:v>43282</c:v>
                </c:pt>
                <c:pt idx="331">
                  <c:v>43313</c:v>
                </c:pt>
                <c:pt idx="332">
                  <c:v>43344</c:v>
                </c:pt>
                <c:pt idx="333">
                  <c:v>43374</c:v>
                </c:pt>
                <c:pt idx="334">
                  <c:v>43405</c:v>
                </c:pt>
                <c:pt idx="335">
                  <c:v>43435</c:v>
                </c:pt>
                <c:pt idx="336">
                  <c:v>43466</c:v>
                </c:pt>
                <c:pt idx="337">
                  <c:v>43497</c:v>
                </c:pt>
                <c:pt idx="338">
                  <c:v>43525</c:v>
                </c:pt>
                <c:pt idx="339">
                  <c:v>43556</c:v>
                </c:pt>
                <c:pt idx="340">
                  <c:v>43586</c:v>
                </c:pt>
                <c:pt idx="341">
                  <c:v>43617</c:v>
                </c:pt>
                <c:pt idx="342">
                  <c:v>43647</c:v>
                </c:pt>
                <c:pt idx="343">
                  <c:v>43678</c:v>
                </c:pt>
                <c:pt idx="344">
                  <c:v>43709</c:v>
                </c:pt>
                <c:pt idx="345">
                  <c:v>43739</c:v>
                </c:pt>
                <c:pt idx="346">
                  <c:v>43770</c:v>
                </c:pt>
                <c:pt idx="347">
                  <c:v>43800</c:v>
                </c:pt>
                <c:pt idx="348">
                  <c:v>43831</c:v>
                </c:pt>
                <c:pt idx="349">
                  <c:v>43862</c:v>
                </c:pt>
                <c:pt idx="350">
                  <c:v>43891</c:v>
                </c:pt>
                <c:pt idx="351">
                  <c:v>43922</c:v>
                </c:pt>
                <c:pt idx="352">
                  <c:v>43952</c:v>
                </c:pt>
                <c:pt idx="353">
                  <c:v>43983</c:v>
                </c:pt>
                <c:pt idx="354">
                  <c:v>44013</c:v>
                </c:pt>
                <c:pt idx="355">
                  <c:v>44044</c:v>
                </c:pt>
                <c:pt idx="356">
                  <c:v>44075</c:v>
                </c:pt>
                <c:pt idx="357">
                  <c:v>44105</c:v>
                </c:pt>
                <c:pt idx="358">
                  <c:v>44136</c:v>
                </c:pt>
                <c:pt idx="359">
                  <c:v>44166</c:v>
                </c:pt>
                <c:pt idx="360">
                  <c:v>44197</c:v>
                </c:pt>
                <c:pt idx="361">
                  <c:v>44228</c:v>
                </c:pt>
                <c:pt idx="362">
                  <c:v>44256</c:v>
                </c:pt>
                <c:pt idx="363">
                  <c:v>44287</c:v>
                </c:pt>
                <c:pt idx="364">
                  <c:v>44317</c:v>
                </c:pt>
                <c:pt idx="365">
                  <c:v>44348</c:v>
                </c:pt>
                <c:pt idx="366">
                  <c:v>44378</c:v>
                </c:pt>
                <c:pt idx="367">
                  <c:v>44409</c:v>
                </c:pt>
                <c:pt idx="368">
                  <c:v>44440</c:v>
                </c:pt>
                <c:pt idx="369">
                  <c:v>44470</c:v>
                </c:pt>
                <c:pt idx="370">
                  <c:v>44501</c:v>
                </c:pt>
                <c:pt idx="371">
                  <c:v>44531</c:v>
                </c:pt>
                <c:pt idx="372">
                  <c:v>44562</c:v>
                </c:pt>
                <c:pt idx="373">
                  <c:v>44593</c:v>
                </c:pt>
                <c:pt idx="374">
                  <c:v>44621</c:v>
                </c:pt>
                <c:pt idx="375">
                  <c:v>44652</c:v>
                </c:pt>
                <c:pt idx="376">
                  <c:v>44682</c:v>
                </c:pt>
                <c:pt idx="377">
                  <c:v>44713</c:v>
                </c:pt>
                <c:pt idx="378">
                  <c:v>44743</c:v>
                </c:pt>
                <c:pt idx="379">
                  <c:v>44774</c:v>
                </c:pt>
                <c:pt idx="380">
                  <c:v>44805</c:v>
                </c:pt>
                <c:pt idx="381">
                  <c:v>44835</c:v>
                </c:pt>
                <c:pt idx="382">
                  <c:v>44866</c:v>
                </c:pt>
                <c:pt idx="383">
                  <c:v>44896</c:v>
                </c:pt>
                <c:pt idx="384">
                  <c:v>44927</c:v>
                </c:pt>
                <c:pt idx="385">
                  <c:v>44958</c:v>
                </c:pt>
                <c:pt idx="386">
                  <c:v>44986</c:v>
                </c:pt>
                <c:pt idx="387">
                  <c:v>45017</c:v>
                </c:pt>
                <c:pt idx="388">
                  <c:v>45047</c:v>
                </c:pt>
                <c:pt idx="389">
                  <c:v>45078</c:v>
                </c:pt>
                <c:pt idx="390">
                  <c:v>45108</c:v>
                </c:pt>
                <c:pt idx="391">
                  <c:v>45139</c:v>
                </c:pt>
                <c:pt idx="392">
                  <c:v>45170</c:v>
                </c:pt>
                <c:pt idx="393">
                  <c:v>45200</c:v>
                </c:pt>
                <c:pt idx="394">
                  <c:v>45231</c:v>
                </c:pt>
                <c:pt idx="395">
                  <c:v>45261</c:v>
                </c:pt>
                <c:pt idx="396">
                  <c:v>45292</c:v>
                </c:pt>
              </c:numCache>
            </c:numRef>
          </c:cat>
          <c:val>
            <c:numRef>
              <c:f>Sheet15!$C$3:$C$495</c:f>
              <c:numCache>
                <c:formatCode>0.0%</c:formatCode>
                <c:ptCount val="397"/>
                <c:pt idx="0">
                  <c:v>6.9100391134289341E-2</c:v>
                </c:pt>
                <c:pt idx="1">
                  <c:v>6.2176165803108807E-2</c:v>
                </c:pt>
                <c:pt idx="2">
                  <c:v>6.1935483870967811E-2</c:v>
                </c:pt>
                <c:pt idx="3">
                  <c:v>6.1935483870967811E-2</c:v>
                </c:pt>
                <c:pt idx="4">
                  <c:v>6.1617458279845883E-2</c:v>
                </c:pt>
                <c:pt idx="5">
                  <c:v>6.2659846547314491E-2</c:v>
                </c:pt>
                <c:pt idx="6">
                  <c:v>5.987261146496814E-2</c:v>
                </c:pt>
                <c:pt idx="7">
                  <c:v>5.9796437659033197E-2</c:v>
                </c:pt>
                <c:pt idx="8">
                  <c:v>5.4568527918781751E-2</c:v>
                </c:pt>
                <c:pt idx="9">
                  <c:v>4.4025157232704393E-2</c:v>
                </c:pt>
                <c:pt idx="10">
                  <c:v>4.1250000000000009E-2</c:v>
                </c:pt>
                <c:pt idx="11">
                  <c:v>3.7546933667083948E-2</c:v>
                </c:pt>
                <c:pt idx="12">
                  <c:v>1.585365853658538E-2</c:v>
                </c:pt>
                <c:pt idx="13">
                  <c:v>1.585365853658538E-2</c:v>
                </c:pt>
                <c:pt idx="14">
                  <c:v>1.5795868772782384E-2</c:v>
                </c:pt>
                <c:pt idx="15">
                  <c:v>1.7010935601458055E-2</c:v>
                </c:pt>
                <c:pt idx="16">
                  <c:v>1.3301088270858408E-2</c:v>
                </c:pt>
                <c:pt idx="17">
                  <c:v>1.0830324909747446E-2</c:v>
                </c:pt>
                <c:pt idx="18">
                  <c:v>1.2019230769230838E-2</c:v>
                </c:pt>
                <c:pt idx="19">
                  <c:v>1.0804321728691502E-2</c:v>
                </c:pt>
                <c:pt idx="20">
                  <c:v>1.3237063778580138E-2</c:v>
                </c:pt>
                <c:pt idx="21">
                  <c:v>1.5662650602409567E-2</c:v>
                </c:pt>
                <c:pt idx="22">
                  <c:v>1.6806722689075793E-2</c:v>
                </c:pt>
                <c:pt idx="23">
                  <c:v>2.1712907117008351E-2</c:v>
                </c:pt>
                <c:pt idx="24">
                  <c:v>2.0408163265306145E-2</c:v>
                </c:pt>
                <c:pt idx="25">
                  <c:v>2.400960384153672E-2</c:v>
                </c:pt>
                <c:pt idx="26">
                  <c:v>1.9138755980861344E-2</c:v>
                </c:pt>
                <c:pt idx="27">
                  <c:v>1.7921146953405076E-2</c:v>
                </c:pt>
                <c:pt idx="28">
                  <c:v>1.9093078758950055E-2</c:v>
                </c:pt>
                <c:pt idx="29">
                  <c:v>1.6666666666666829E-2</c:v>
                </c:pt>
                <c:pt idx="30">
                  <c:v>1.6627078384797933E-2</c:v>
                </c:pt>
                <c:pt idx="31">
                  <c:v>1.7814726840855055E-2</c:v>
                </c:pt>
                <c:pt idx="32">
                  <c:v>1.7814726840855055E-2</c:v>
                </c:pt>
                <c:pt idx="33">
                  <c:v>1.8979833926453304E-2</c:v>
                </c:pt>
                <c:pt idx="34">
                  <c:v>1.8890200708382432E-2</c:v>
                </c:pt>
                <c:pt idx="35">
                  <c:v>1.6528925619834656E-2</c:v>
                </c:pt>
                <c:pt idx="36">
                  <c:v>1.2941176470588234E-2</c:v>
                </c:pt>
                <c:pt idx="37">
                  <c:v>1.1723329425556983E-3</c:v>
                </c:pt>
                <c:pt idx="38">
                  <c:v>2.3474178403755097E-3</c:v>
                </c:pt>
                <c:pt idx="39">
                  <c:v>2.3474178403755097E-3</c:v>
                </c:pt>
                <c:pt idx="40">
                  <c:v>-2.3419203747072626E-3</c:v>
                </c:pt>
                <c:pt idx="41">
                  <c:v>0</c:v>
                </c:pt>
                <c:pt idx="42">
                  <c:v>1.1682242990656011E-3</c:v>
                </c:pt>
                <c:pt idx="43">
                  <c:v>1.166861143523823E-3</c:v>
                </c:pt>
                <c:pt idx="44">
                  <c:v>2.333722287047868E-3</c:v>
                </c:pt>
                <c:pt idx="45">
                  <c:v>-2.3282887077997749E-3</c:v>
                </c:pt>
                <c:pt idx="46">
                  <c:v>-1.1587485515642815E-3</c:v>
                </c:pt>
                <c:pt idx="47">
                  <c:v>2.3228803716608404E-3</c:v>
                </c:pt>
                <c:pt idx="48">
                  <c:v>5.807200929152101E-3</c:v>
                </c:pt>
                <c:pt idx="49">
                  <c:v>1.87353629976581E-2</c:v>
                </c:pt>
                <c:pt idx="50">
                  <c:v>2.1077283372365363E-2</c:v>
                </c:pt>
                <c:pt idx="51">
                  <c:v>2.4590163934426146E-2</c:v>
                </c:pt>
                <c:pt idx="52">
                  <c:v>2.934272300469476E-2</c:v>
                </c:pt>
                <c:pt idx="53">
                  <c:v>2.6932084309133408E-2</c:v>
                </c:pt>
                <c:pt idx="54">
                  <c:v>2.5670945157526326E-2</c:v>
                </c:pt>
                <c:pt idx="55">
                  <c:v>2.2144522144522227E-2</c:v>
                </c:pt>
                <c:pt idx="56">
                  <c:v>2.211874272409764E-2</c:v>
                </c:pt>
                <c:pt idx="57">
                  <c:v>2.3337222870478458E-2</c:v>
                </c:pt>
                <c:pt idx="58">
                  <c:v>2.088167053364276E-2</c:v>
                </c:pt>
                <c:pt idx="59">
                  <c:v>1.7381228273464666E-2</c:v>
                </c:pt>
                <c:pt idx="60">
                  <c:v>1.616628175519641E-2</c:v>
                </c:pt>
                <c:pt idx="61">
                  <c:v>1.264367816091938E-2</c:v>
                </c:pt>
                <c:pt idx="62">
                  <c:v>1.4908256880733939E-2</c:v>
                </c:pt>
                <c:pt idx="63">
                  <c:v>1.371428571428579E-2</c:v>
                </c:pt>
                <c:pt idx="64">
                  <c:v>1.4823261117445696E-2</c:v>
                </c:pt>
                <c:pt idx="65">
                  <c:v>1.4823261117445696E-2</c:v>
                </c:pt>
                <c:pt idx="66">
                  <c:v>1.2514220705347023E-2</c:v>
                </c:pt>
                <c:pt idx="67">
                  <c:v>1.4823261117445696E-2</c:v>
                </c:pt>
                <c:pt idx="68">
                  <c:v>1.4806378132118381E-2</c:v>
                </c:pt>
                <c:pt idx="69">
                  <c:v>1.8244013683010207E-2</c:v>
                </c:pt>
                <c:pt idx="70">
                  <c:v>1.931818181818179E-2</c:v>
                </c:pt>
                <c:pt idx="71">
                  <c:v>2.1640091116173155E-2</c:v>
                </c:pt>
                <c:pt idx="72">
                  <c:v>2.1590909090909216E-2</c:v>
                </c:pt>
                <c:pt idx="73">
                  <c:v>2.2701475595913845E-2</c:v>
                </c:pt>
                <c:pt idx="74">
                  <c:v>1.9209039548022666E-2</c:v>
                </c:pt>
                <c:pt idx="75">
                  <c:v>1.6910935738444266E-2</c:v>
                </c:pt>
                <c:pt idx="76">
                  <c:v>1.4606741573033766E-2</c:v>
                </c:pt>
                <c:pt idx="77">
                  <c:v>1.6853932584269593E-2</c:v>
                </c:pt>
                <c:pt idx="78">
                  <c:v>1.6853932584269593E-2</c:v>
                </c:pt>
                <c:pt idx="79">
                  <c:v>1.7977528089887507E-2</c:v>
                </c:pt>
                <c:pt idx="80">
                  <c:v>1.6835016835016869E-2</c:v>
                </c:pt>
                <c:pt idx="81">
                  <c:v>1.4557670772676445E-2</c:v>
                </c:pt>
                <c:pt idx="82">
                  <c:v>8.9186176142697082E-3</c:v>
                </c:pt>
                <c:pt idx="83">
                  <c:v>7.8037904124861335E-3</c:v>
                </c:pt>
                <c:pt idx="84">
                  <c:v>1.1123470522803158E-2</c:v>
                </c:pt>
                <c:pt idx="85">
                  <c:v>9.9889012208658201E-3</c:v>
                </c:pt>
                <c:pt idx="86">
                  <c:v>9.9778270509975897E-3</c:v>
                </c:pt>
                <c:pt idx="87">
                  <c:v>8.8691796008868451E-3</c:v>
                </c:pt>
                <c:pt idx="88">
                  <c:v>1.1074197120708673E-2</c:v>
                </c:pt>
                <c:pt idx="89">
                  <c:v>9.944751381215422E-3</c:v>
                </c:pt>
                <c:pt idx="90">
                  <c:v>9.944751381215422E-3</c:v>
                </c:pt>
                <c:pt idx="91">
                  <c:v>8.8300220750552327E-3</c:v>
                </c:pt>
                <c:pt idx="92">
                  <c:v>6.6225165562914245E-3</c:v>
                </c:pt>
                <c:pt idx="93">
                  <c:v>1.1037527593819041E-2</c:v>
                </c:pt>
                <c:pt idx="94">
                  <c:v>1.2154696132596676E-2</c:v>
                </c:pt>
                <c:pt idx="95">
                  <c:v>9.9557522123892017E-3</c:v>
                </c:pt>
                <c:pt idx="96">
                  <c:v>6.6006600660064585E-3</c:v>
                </c:pt>
                <c:pt idx="97">
                  <c:v>6.59340659340657E-3</c:v>
                </c:pt>
                <c:pt idx="98">
                  <c:v>9.8792535675082949E-3</c:v>
                </c:pt>
                <c:pt idx="99">
                  <c:v>1.6483516483516425E-2</c:v>
                </c:pt>
                <c:pt idx="100">
                  <c:v>1.533406352683464E-2</c:v>
                </c:pt>
                <c:pt idx="101">
                  <c:v>1.6411378555798661E-2</c:v>
                </c:pt>
                <c:pt idx="102">
                  <c:v>1.8599562363238453E-2</c:v>
                </c:pt>
                <c:pt idx="103">
                  <c:v>2.0787746170678245E-2</c:v>
                </c:pt>
                <c:pt idx="104">
                  <c:v>2.631578947368407E-2</c:v>
                </c:pt>
                <c:pt idx="105">
                  <c:v>2.2925764192139875E-2</c:v>
                </c:pt>
                <c:pt idx="106">
                  <c:v>2.1834061135371119E-2</c:v>
                </c:pt>
                <c:pt idx="107">
                  <c:v>2.6286966046002336E-2</c:v>
                </c:pt>
                <c:pt idx="108">
                  <c:v>2.1857923497267784E-2</c:v>
                </c:pt>
                <c:pt idx="109">
                  <c:v>2.729257641921401E-2</c:v>
                </c:pt>
                <c:pt idx="110">
                  <c:v>3.0434782608695699E-2</c:v>
                </c:pt>
                <c:pt idx="111">
                  <c:v>2.1621621621621623E-2</c:v>
                </c:pt>
                <c:pt idx="112">
                  <c:v>2.373247033441217E-2</c:v>
                </c:pt>
                <c:pt idx="113">
                  <c:v>2.7987082884822323E-2</c:v>
                </c:pt>
                <c:pt idx="114">
                  <c:v>2.9001074113855996E-2</c:v>
                </c:pt>
                <c:pt idx="115">
                  <c:v>2.5723472668810254E-2</c:v>
                </c:pt>
                <c:pt idx="116">
                  <c:v>2.6709401709401615E-2</c:v>
                </c:pt>
                <c:pt idx="117">
                  <c:v>2.7748132337246378E-2</c:v>
                </c:pt>
                <c:pt idx="118">
                  <c:v>3.2051282051282159E-2</c:v>
                </c:pt>
                <c:pt idx="119">
                  <c:v>3.2017075773745907E-2</c:v>
                </c:pt>
                <c:pt idx="120">
                  <c:v>2.9946524064171198E-2</c:v>
                </c:pt>
                <c:pt idx="121">
                  <c:v>2.8692879914984148E-2</c:v>
                </c:pt>
                <c:pt idx="122">
                  <c:v>2.4261603375527407E-2</c:v>
                </c:pt>
                <c:pt idx="123">
                  <c:v>3.4920634920634797E-2</c:v>
                </c:pt>
                <c:pt idx="124">
                  <c:v>3.8988408851422518E-2</c:v>
                </c:pt>
                <c:pt idx="125">
                  <c:v>3.3507853403141441E-2</c:v>
                </c:pt>
                <c:pt idx="126">
                  <c:v>2.7139874739039671E-2</c:v>
                </c:pt>
                <c:pt idx="127">
                  <c:v>2.8213166144200663E-2</c:v>
                </c:pt>
                <c:pt idx="128">
                  <c:v>2.6014568158168494E-2</c:v>
                </c:pt>
                <c:pt idx="129">
                  <c:v>1.8691588785046731E-2</c:v>
                </c:pt>
                <c:pt idx="130">
                  <c:v>6.2111801242237252E-3</c:v>
                </c:pt>
                <c:pt idx="131">
                  <c:v>7.2388831437435464E-3</c:v>
                </c:pt>
                <c:pt idx="132">
                  <c:v>1.349948078920038E-2</c:v>
                </c:pt>
                <c:pt idx="133">
                  <c:v>1.4462809917355379E-2</c:v>
                </c:pt>
                <c:pt idx="134">
                  <c:v>1.8537590113285374E-2</c:v>
                </c:pt>
                <c:pt idx="135">
                  <c:v>1.7382413087934534E-2</c:v>
                </c:pt>
                <c:pt idx="136">
                  <c:v>1.1156186612576224E-2</c:v>
                </c:pt>
                <c:pt idx="137">
                  <c:v>1.2158054711246313E-2</c:v>
                </c:pt>
                <c:pt idx="138">
                  <c:v>2.1341463414634054E-2</c:v>
                </c:pt>
                <c:pt idx="139">
                  <c:v>2.5406504065040636E-2</c:v>
                </c:pt>
                <c:pt idx="140">
                  <c:v>2.3326572008113722E-2</c:v>
                </c:pt>
                <c:pt idx="141">
                  <c:v>3.1600407747196746E-2</c:v>
                </c:pt>
                <c:pt idx="142">
                  <c:v>4.4238683127572065E-2</c:v>
                </c:pt>
                <c:pt idx="143">
                  <c:v>3.7987679671457775E-2</c:v>
                </c:pt>
                <c:pt idx="144">
                  <c:v>4.508196721311486E-2</c:v>
                </c:pt>
                <c:pt idx="145">
                  <c:v>4.6843177189409335E-2</c:v>
                </c:pt>
                <c:pt idx="146">
                  <c:v>4.2467138523761161E-2</c:v>
                </c:pt>
                <c:pt idx="147">
                  <c:v>2.9145728643216184E-2</c:v>
                </c:pt>
                <c:pt idx="148">
                  <c:v>2.8084252758274753E-2</c:v>
                </c:pt>
                <c:pt idx="149">
                  <c:v>2.6026026026025884E-2</c:v>
                </c:pt>
                <c:pt idx="150">
                  <c:v>2.0895522388059584E-2</c:v>
                </c:pt>
                <c:pt idx="151">
                  <c:v>1.9821605550049526E-2</c:v>
                </c:pt>
                <c:pt idx="152">
                  <c:v>2.1803766105054301E-2</c:v>
                </c:pt>
                <c:pt idx="153">
                  <c:v>1.5810276679841806E-2</c:v>
                </c:pt>
                <c:pt idx="154">
                  <c:v>1.5763546798029493E-2</c:v>
                </c:pt>
                <c:pt idx="155">
                  <c:v>2.0771513353115889E-2</c:v>
                </c:pt>
                <c:pt idx="156">
                  <c:v>1.2745098039215641E-2</c:v>
                </c:pt>
                <c:pt idx="157">
                  <c:v>6.809338521400754E-3</c:v>
                </c:pt>
                <c:pt idx="158">
                  <c:v>7.7594568380214834E-3</c:v>
                </c:pt>
                <c:pt idx="159">
                  <c:v>1.6601562499999778E-2</c:v>
                </c:pt>
                <c:pt idx="160">
                  <c:v>2.4390243902439046E-2</c:v>
                </c:pt>
                <c:pt idx="161">
                  <c:v>2.5365853658536608E-2</c:v>
                </c:pt>
                <c:pt idx="162">
                  <c:v>2.3391812865497075E-2</c:v>
                </c:pt>
                <c:pt idx="163">
                  <c:v>1.8464528668610258E-2</c:v>
                </c:pt>
                <c:pt idx="164">
                  <c:v>1.8428709990300662E-2</c:v>
                </c:pt>
                <c:pt idx="165">
                  <c:v>2.3346303501945664E-2</c:v>
                </c:pt>
                <c:pt idx="166">
                  <c:v>2.4248302618816719E-2</c:v>
                </c:pt>
                <c:pt idx="167">
                  <c:v>2.1317829457364379E-2</c:v>
                </c:pt>
                <c:pt idx="168">
                  <c:v>1.9361084220716362E-2</c:v>
                </c:pt>
                <c:pt idx="169">
                  <c:v>2.1256038647343045E-2</c:v>
                </c:pt>
                <c:pt idx="170">
                  <c:v>2.3099133782483072E-2</c:v>
                </c:pt>
                <c:pt idx="171">
                  <c:v>2.4015369836695388E-2</c:v>
                </c:pt>
                <c:pt idx="172">
                  <c:v>1.6190476190476311E-2</c:v>
                </c:pt>
                <c:pt idx="173">
                  <c:v>1.7126546146527311E-2</c:v>
                </c:pt>
                <c:pt idx="174">
                  <c:v>2.0000000000000018E-2</c:v>
                </c:pt>
                <c:pt idx="175">
                  <c:v>2.57633587786259E-2</c:v>
                </c:pt>
                <c:pt idx="176">
                  <c:v>3.2380952380952399E-2</c:v>
                </c:pt>
                <c:pt idx="177">
                  <c:v>2.5665399239543696E-2</c:v>
                </c:pt>
                <c:pt idx="178">
                  <c:v>1.9886363636363757E-2</c:v>
                </c:pt>
                <c:pt idx="179">
                  <c:v>2.0872865275142205E-2</c:v>
                </c:pt>
                <c:pt idx="180">
                  <c:v>2.7540360873694159E-2</c:v>
                </c:pt>
                <c:pt idx="181">
                  <c:v>2.1759697256386046E-2</c:v>
                </c:pt>
                <c:pt idx="182">
                  <c:v>2.1636876763875712E-2</c:v>
                </c:pt>
                <c:pt idx="183">
                  <c:v>2.4390243902439046E-2</c:v>
                </c:pt>
                <c:pt idx="184">
                  <c:v>2.8116213683224034E-2</c:v>
                </c:pt>
                <c:pt idx="185">
                  <c:v>2.4321796071094415E-2</c:v>
                </c:pt>
                <c:pt idx="186">
                  <c:v>2.3342670401493848E-2</c:v>
                </c:pt>
                <c:pt idx="187">
                  <c:v>2.1395348837209172E-2</c:v>
                </c:pt>
                <c:pt idx="188">
                  <c:v>7.3800738007379074E-3</c:v>
                </c:pt>
                <c:pt idx="189">
                  <c:v>1.0194624652456019E-2</c:v>
                </c:pt>
                <c:pt idx="190">
                  <c:v>1.3927576601671321E-2</c:v>
                </c:pt>
                <c:pt idx="191">
                  <c:v>1.6728624535315983E-2</c:v>
                </c:pt>
                <c:pt idx="192">
                  <c:v>1.109057301293892E-2</c:v>
                </c:pt>
                <c:pt idx="193">
                  <c:v>2.0370370370370372E-2</c:v>
                </c:pt>
                <c:pt idx="194">
                  <c:v>2.3020257826887658E-2</c:v>
                </c:pt>
                <c:pt idx="195">
                  <c:v>2.19780219780219E-2</c:v>
                </c:pt>
                <c:pt idx="196">
                  <c:v>2.1877848678213185E-2</c:v>
                </c:pt>
                <c:pt idx="197">
                  <c:v>2.1917808219178214E-2</c:v>
                </c:pt>
                <c:pt idx="198">
                  <c:v>2.1897810218978186E-2</c:v>
                </c:pt>
                <c:pt idx="199">
                  <c:v>1.7304189435336959E-2</c:v>
                </c:pt>
                <c:pt idx="200">
                  <c:v>2.4725274725274859E-2</c:v>
                </c:pt>
                <c:pt idx="201">
                  <c:v>2.3853211009174258E-2</c:v>
                </c:pt>
                <c:pt idx="202">
                  <c:v>2.4725274725274859E-2</c:v>
                </c:pt>
                <c:pt idx="203">
                  <c:v>2.3765996343692919E-2</c:v>
                </c:pt>
                <c:pt idx="204">
                  <c:v>2.1937842778793293E-2</c:v>
                </c:pt>
                <c:pt idx="205">
                  <c:v>1.8148820326678861E-2</c:v>
                </c:pt>
                <c:pt idx="206">
                  <c:v>1.3501350135013412E-2</c:v>
                </c:pt>
                <c:pt idx="207">
                  <c:v>1.70250896057349E-2</c:v>
                </c:pt>
                <c:pt idx="208">
                  <c:v>2.2301516503122176E-2</c:v>
                </c:pt>
                <c:pt idx="209">
                  <c:v>3.1277926720286064E-2</c:v>
                </c:pt>
                <c:pt idx="210">
                  <c:v>3.3928571428571308E-2</c:v>
                </c:pt>
                <c:pt idx="211">
                  <c:v>3.4914950760966734E-2</c:v>
                </c:pt>
                <c:pt idx="212">
                  <c:v>3.3958891867738927E-2</c:v>
                </c:pt>
                <c:pt idx="213">
                  <c:v>2.5985663082437327E-2</c:v>
                </c:pt>
                <c:pt idx="214">
                  <c:v>1.9660411081322549E-2</c:v>
                </c:pt>
                <c:pt idx="215">
                  <c:v>1.1607142857142927E-2</c:v>
                </c:pt>
                <c:pt idx="216">
                  <c:v>1.0733452593917781E-2</c:v>
                </c:pt>
                <c:pt idx="217">
                  <c:v>1.426024955436711E-2</c:v>
                </c:pt>
                <c:pt idx="218">
                  <c:v>1.243339253996445E-2</c:v>
                </c:pt>
                <c:pt idx="219">
                  <c:v>3.5242290748900285E-3</c:v>
                </c:pt>
                <c:pt idx="220">
                  <c:v>8.7260034904024231E-4</c:v>
                </c:pt>
                <c:pt idx="221">
                  <c:v>-2.5996533795494825E-3</c:v>
                </c:pt>
                <c:pt idx="222">
                  <c:v>-9.4991364421416202E-3</c:v>
                </c:pt>
                <c:pt idx="223">
                  <c:v>-7.7854671280276344E-3</c:v>
                </c:pt>
                <c:pt idx="224">
                  <c:v>-8.6430423509075149E-3</c:v>
                </c:pt>
                <c:pt idx="225">
                  <c:v>8.7336244541469377E-4</c:v>
                </c:pt>
                <c:pt idx="226">
                  <c:v>9.6406660823840085E-3</c:v>
                </c:pt>
                <c:pt idx="227">
                  <c:v>1.3239187996469504E-2</c:v>
                </c:pt>
                <c:pt idx="228">
                  <c:v>1.8584070796460184E-2</c:v>
                </c:pt>
                <c:pt idx="229">
                  <c:v>1.5817223198594021E-2</c:v>
                </c:pt>
                <c:pt idx="230">
                  <c:v>1.4035087719298289E-2</c:v>
                </c:pt>
                <c:pt idx="231">
                  <c:v>1.843722563652328E-2</c:v>
                </c:pt>
                <c:pt idx="232">
                  <c:v>1.3949433304272008E-2</c:v>
                </c:pt>
                <c:pt idx="233">
                  <c:v>9.5569070373588971E-3</c:v>
                </c:pt>
                <c:pt idx="234">
                  <c:v>1.8308631211856996E-2</c:v>
                </c:pt>
                <c:pt idx="235">
                  <c:v>1.7436791630339954E-2</c:v>
                </c:pt>
                <c:pt idx="236">
                  <c:v>1.9180470793374038E-2</c:v>
                </c:pt>
                <c:pt idx="237">
                  <c:v>2.443280977312412E-2</c:v>
                </c:pt>
                <c:pt idx="238">
                  <c:v>1.9965277777777679E-2</c:v>
                </c:pt>
                <c:pt idx="239">
                  <c:v>2.3519163763066286E-2</c:v>
                </c:pt>
                <c:pt idx="240">
                  <c:v>2.3457862728062606E-2</c:v>
                </c:pt>
                <c:pt idx="241">
                  <c:v>2.1626297577854725E-2</c:v>
                </c:pt>
                <c:pt idx="242">
                  <c:v>3.2871972318339271E-2</c:v>
                </c:pt>
                <c:pt idx="243">
                  <c:v>3.2758620689655071E-2</c:v>
                </c:pt>
                <c:pt idx="244">
                  <c:v>3.6973344797936347E-2</c:v>
                </c:pt>
                <c:pt idx="245">
                  <c:v>3.0981067125645412E-2</c:v>
                </c:pt>
                <c:pt idx="246">
                  <c:v>2.7397260273972712E-2</c:v>
                </c:pt>
                <c:pt idx="247">
                  <c:v>3.0848329048843048E-2</c:v>
                </c:pt>
                <c:pt idx="248">
                  <c:v>3.1650983746791983E-2</c:v>
                </c:pt>
                <c:pt idx="249">
                  <c:v>2.8960817717206044E-2</c:v>
                </c:pt>
                <c:pt idx="250">
                  <c:v>2.8936170212765955E-2</c:v>
                </c:pt>
                <c:pt idx="251">
                  <c:v>2.297872340425533E-2</c:v>
                </c:pt>
                <c:pt idx="252">
                  <c:v>2.4617996604414216E-2</c:v>
                </c:pt>
                <c:pt idx="253">
                  <c:v>2.6248941574936513E-2</c:v>
                </c:pt>
                <c:pt idx="254">
                  <c:v>1.9262981574539317E-2</c:v>
                </c:pt>
                <c:pt idx="255">
                  <c:v>2.0033388981636202E-2</c:v>
                </c:pt>
                <c:pt idx="256">
                  <c:v>1.2437810945273631E-2</c:v>
                </c:pt>
                <c:pt idx="257">
                  <c:v>1.5025041736226985E-2</c:v>
                </c:pt>
                <c:pt idx="258">
                  <c:v>1.2499999999999956E-2</c:v>
                </c:pt>
                <c:pt idx="259">
                  <c:v>1.2468827930174564E-2</c:v>
                </c:pt>
                <c:pt idx="260">
                  <c:v>1.1608623548922115E-2</c:v>
                </c:pt>
                <c:pt idx="261">
                  <c:v>1.1589403973510048E-2</c:v>
                </c:pt>
                <c:pt idx="262">
                  <c:v>8.2712985938793171E-3</c:v>
                </c:pt>
                <c:pt idx="263">
                  <c:v>8.3194675540765317E-3</c:v>
                </c:pt>
                <c:pt idx="264">
                  <c:v>4.9710024855011969E-3</c:v>
                </c:pt>
                <c:pt idx="265">
                  <c:v>1.2376237623762387E-2</c:v>
                </c:pt>
                <c:pt idx="266">
                  <c:v>9.8603122432210366E-3</c:v>
                </c:pt>
                <c:pt idx="267">
                  <c:v>4.0916530278232166E-3</c:v>
                </c:pt>
                <c:pt idx="268">
                  <c:v>7.3710073710073765E-3</c:v>
                </c:pt>
                <c:pt idx="269">
                  <c:v>1.1513157894736947E-2</c:v>
                </c:pt>
                <c:pt idx="270">
                  <c:v>1.3168724279835287E-2</c:v>
                </c:pt>
                <c:pt idx="271">
                  <c:v>1.0673234811165777E-2</c:v>
                </c:pt>
                <c:pt idx="272">
                  <c:v>1.06557377049179E-2</c:v>
                </c:pt>
                <c:pt idx="273">
                  <c:v>6.5466448445170577E-3</c:v>
                </c:pt>
                <c:pt idx="274">
                  <c:v>9.023789991796427E-3</c:v>
                </c:pt>
                <c:pt idx="275">
                  <c:v>1.2376237623762387E-2</c:v>
                </c:pt>
                <c:pt idx="276">
                  <c:v>1.483924154987637E-2</c:v>
                </c:pt>
                <c:pt idx="277">
                  <c:v>1.140994295028519E-2</c:v>
                </c:pt>
                <c:pt idx="278">
                  <c:v>1.5459723352318822E-2</c:v>
                </c:pt>
                <c:pt idx="279">
                  <c:v>2.0374898125509411E-2</c:v>
                </c:pt>
                <c:pt idx="280">
                  <c:v>2.2764227642276369E-2</c:v>
                </c:pt>
                <c:pt idx="281">
                  <c:v>2.3577235772357819E-2</c:v>
                </c:pt>
                <c:pt idx="282">
                  <c:v>2.1121039805036546E-2</c:v>
                </c:pt>
                <c:pt idx="283">
                  <c:v>2.1121039805036546E-2</c:v>
                </c:pt>
                <c:pt idx="284">
                  <c:v>2.0275750202757514E-2</c:v>
                </c:pt>
                <c:pt idx="285">
                  <c:v>2.3577235772357819E-2</c:v>
                </c:pt>
                <c:pt idx="286">
                  <c:v>1.9512195121951237E-2</c:v>
                </c:pt>
                <c:pt idx="287">
                  <c:v>1.4669926650366705E-2</c:v>
                </c:pt>
                <c:pt idx="288">
                  <c:v>9.7481722177092944E-3</c:v>
                </c:pt>
                <c:pt idx="289">
                  <c:v>1.0475423045930743E-2</c:v>
                </c:pt>
                <c:pt idx="290">
                  <c:v>1.2019230769230838E-2</c:v>
                </c:pt>
                <c:pt idx="291">
                  <c:v>7.9872204472843933E-3</c:v>
                </c:pt>
                <c:pt idx="292">
                  <c:v>8.7440381558028246E-3</c:v>
                </c:pt>
                <c:pt idx="293">
                  <c:v>1.0325655281969714E-2</c:v>
                </c:pt>
                <c:pt idx="294">
                  <c:v>1.2728719172633296E-2</c:v>
                </c:pt>
                <c:pt idx="295">
                  <c:v>1.2728719172633296E-2</c:v>
                </c:pt>
                <c:pt idx="296">
                  <c:v>1.0333863275039823E-2</c:v>
                </c:pt>
                <c:pt idx="297">
                  <c:v>1.0325655281969714E-2</c:v>
                </c:pt>
                <c:pt idx="298">
                  <c:v>1.3556618819776656E-2</c:v>
                </c:pt>
                <c:pt idx="299">
                  <c:v>1.6064257028112428E-2</c:v>
                </c:pt>
                <c:pt idx="300">
                  <c:v>2.011263073209979E-2</c:v>
                </c:pt>
                <c:pt idx="301">
                  <c:v>1.3556618819776656E-2</c:v>
                </c:pt>
                <c:pt idx="302">
                  <c:v>1.2668250197941378E-2</c:v>
                </c:pt>
                <c:pt idx="303">
                  <c:v>1.6640253565768592E-2</c:v>
                </c:pt>
                <c:pt idx="304">
                  <c:v>1.4972419227738509E-2</c:v>
                </c:pt>
                <c:pt idx="305">
                  <c:v>1.4937106918238907E-2</c:v>
                </c:pt>
                <c:pt idx="306">
                  <c:v>1.256873527101332E-2</c:v>
                </c:pt>
                <c:pt idx="307">
                  <c:v>1.09976433621366E-2</c:v>
                </c:pt>
                <c:pt idx="308">
                  <c:v>1.3375295043273061E-2</c:v>
                </c:pt>
                <c:pt idx="309">
                  <c:v>1.4937106918238907E-2</c:v>
                </c:pt>
                <c:pt idx="310">
                  <c:v>1.1801730920534936E-2</c:v>
                </c:pt>
                <c:pt idx="311">
                  <c:v>1.5019762845849938E-2</c:v>
                </c:pt>
                <c:pt idx="312">
                  <c:v>2.1293375394321856E-2</c:v>
                </c:pt>
                <c:pt idx="313">
                  <c:v>2.0456333595594067E-2</c:v>
                </c:pt>
                <c:pt idx="314">
                  <c:v>1.5637216575449475E-2</c:v>
                </c:pt>
                <c:pt idx="315">
                  <c:v>1.6367887763055311E-2</c:v>
                </c:pt>
                <c:pt idx="316">
                  <c:v>1.3198757763975166E-2</c:v>
                </c:pt>
                <c:pt idx="317">
                  <c:v>1.0069713400464808E-2</c:v>
                </c:pt>
                <c:pt idx="318">
                  <c:v>1.1636927851047307E-2</c:v>
                </c:pt>
                <c:pt idx="319">
                  <c:v>1.3986013986014179E-2</c:v>
                </c:pt>
                <c:pt idx="320">
                  <c:v>1.552795031055898E-2</c:v>
                </c:pt>
                <c:pt idx="321">
                  <c:v>1.3942680092951187E-2</c:v>
                </c:pt>
                <c:pt idx="322">
                  <c:v>2.0995334370140117E-2</c:v>
                </c:pt>
                <c:pt idx="323">
                  <c:v>1.8691588785046731E-2</c:v>
                </c:pt>
                <c:pt idx="324">
                  <c:v>1.698841698841691E-2</c:v>
                </c:pt>
                <c:pt idx="325">
                  <c:v>2.1588280647648617E-2</c:v>
                </c:pt>
                <c:pt idx="326">
                  <c:v>2.3094688221708903E-2</c:v>
                </c:pt>
                <c:pt idx="327">
                  <c:v>2.223926380368102E-2</c:v>
                </c:pt>
                <c:pt idx="328">
                  <c:v>2.2222222222222365E-2</c:v>
                </c:pt>
                <c:pt idx="329">
                  <c:v>2.4539877300613355E-2</c:v>
                </c:pt>
                <c:pt idx="330">
                  <c:v>2.9907975460122804E-2</c:v>
                </c:pt>
                <c:pt idx="331">
                  <c:v>2.8352490421455823E-2</c:v>
                </c:pt>
                <c:pt idx="332">
                  <c:v>2.2171253822629744E-2</c:v>
                </c:pt>
                <c:pt idx="333">
                  <c:v>2.4446142093200729E-2</c:v>
                </c:pt>
                <c:pt idx="334">
                  <c:v>1.6755521706016685E-2</c:v>
                </c:pt>
                <c:pt idx="335">
                  <c:v>1.9877675840978437E-2</c:v>
                </c:pt>
                <c:pt idx="336">
                  <c:v>1.4426727410782103E-2</c:v>
                </c:pt>
                <c:pt idx="337">
                  <c:v>1.5094339622641506E-2</c:v>
                </c:pt>
                <c:pt idx="338">
                  <c:v>1.8811136192625977E-2</c:v>
                </c:pt>
                <c:pt idx="339">
                  <c:v>2.0255063765941328E-2</c:v>
                </c:pt>
                <c:pt idx="340">
                  <c:v>2.398800599700146E-2</c:v>
                </c:pt>
                <c:pt idx="341">
                  <c:v>2.0209580838323582E-2</c:v>
                </c:pt>
                <c:pt idx="342">
                  <c:v>2.010424422933732E-2</c:v>
                </c:pt>
                <c:pt idx="343">
                  <c:v>1.9374068554396606E-2</c:v>
                </c:pt>
                <c:pt idx="344">
                  <c:v>1.8698578908002972E-2</c:v>
                </c:pt>
                <c:pt idx="345">
                  <c:v>1.8642803877703118E-2</c:v>
                </c:pt>
                <c:pt idx="346">
                  <c:v>2.1722846441947663E-2</c:v>
                </c:pt>
                <c:pt idx="347">
                  <c:v>2.2488755622188883E-2</c:v>
                </c:pt>
                <c:pt idx="348">
                  <c:v>2.3952095808383422E-2</c:v>
                </c:pt>
                <c:pt idx="349">
                  <c:v>2.1561338289962872E-2</c:v>
                </c:pt>
                <c:pt idx="350">
                  <c:v>8.8626292466764678E-3</c:v>
                </c:pt>
                <c:pt idx="351">
                  <c:v>-2.2058823529412797E-3</c:v>
                </c:pt>
                <c:pt idx="352">
                  <c:v>-3.6603221083455484E-3</c:v>
                </c:pt>
                <c:pt idx="353">
                  <c:v>6.6030814380042546E-3</c:v>
                </c:pt>
                <c:pt idx="354">
                  <c:v>1.4598540145984717E-3</c:v>
                </c:pt>
                <c:pt idx="355">
                  <c:v>1.4619883040933868E-3</c:v>
                </c:pt>
                <c:pt idx="356">
                  <c:v>5.1395007342145416E-3</c:v>
                </c:pt>
                <c:pt idx="357">
                  <c:v>6.5885797950220315E-3</c:v>
                </c:pt>
                <c:pt idx="358">
                  <c:v>9.5307917888560745E-3</c:v>
                </c:pt>
                <c:pt idx="359">
                  <c:v>7.3313782991202281E-3</c:v>
                </c:pt>
                <c:pt idx="360">
                  <c:v>1.0233918128654818E-2</c:v>
                </c:pt>
                <c:pt idx="361">
                  <c:v>1.0917030567685559E-2</c:v>
                </c:pt>
                <c:pt idx="362">
                  <c:v>2.196193265007329E-2</c:v>
                </c:pt>
                <c:pt idx="363">
                  <c:v>3.3898305084745894E-2</c:v>
                </c:pt>
                <c:pt idx="364">
                  <c:v>3.6002939015429947E-2</c:v>
                </c:pt>
                <c:pt idx="365">
                  <c:v>3.0612244897959329E-2</c:v>
                </c:pt>
                <c:pt idx="366">
                  <c:v>3.7172011661807725E-2</c:v>
                </c:pt>
                <c:pt idx="367">
                  <c:v>4.0875912408758985E-2</c:v>
                </c:pt>
                <c:pt idx="368">
                  <c:v>4.3827611395178989E-2</c:v>
                </c:pt>
                <c:pt idx="369">
                  <c:v>4.6545454545454668E-2</c:v>
                </c:pt>
                <c:pt idx="370">
                  <c:v>4.7204066811910028E-2</c:v>
                </c:pt>
                <c:pt idx="371">
                  <c:v>4.8034934497816595E-2</c:v>
                </c:pt>
                <c:pt idx="372">
                  <c:v>5.137481910274988E-2</c:v>
                </c:pt>
                <c:pt idx="373">
                  <c:v>5.6875449964002955E-2</c:v>
                </c:pt>
                <c:pt idx="374">
                  <c:v>6.6618911174785245E-2</c:v>
                </c:pt>
                <c:pt idx="375">
                  <c:v>6.7712045616536098E-2</c:v>
                </c:pt>
                <c:pt idx="376">
                  <c:v>7.7304964539007148E-2</c:v>
                </c:pt>
                <c:pt idx="377">
                  <c:v>8.1329561527581307E-2</c:v>
                </c:pt>
                <c:pt idx="378">
                  <c:v>7.5895994378074372E-2</c:v>
                </c:pt>
                <c:pt idx="379">
                  <c:v>7.0126227208976211E-2</c:v>
                </c:pt>
                <c:pt idx="380">
                  <c:v>6.8579426172148183E-2</c:v>
                </c:pt>
                <c:pt idx="381">
                  <c:v>6.8797776233495478E-2</c:v>
                </c:pt>
                <c:pt idx="382">
                  <c:v>6.7961165048543881E-2</c:v>
                </c:pt>
                <c:pt idx="383">
                  <c:v>6.3194444444444331E-2</c:v>
                </c:pt>
                <c:pt idx="384">
                  <c:v>5.9187887130075723E-2</c:v>
                </c:pt>
                <c:pt idx="385">
                  <c:v>5.2452316076294192E-2</c:v>
                </c:pt>
                <c:pt idx="386">
                  <c:v>4.2981867024848963E-2</c:v>
                </c:pt>
                <c:pt idx="387">
                  <c:v>4.4058744993324295E-2</c:v>
                </c:pt>
                <c:pt idx="388">
                  <c:v>3.3574720210664877E-2</c:v>
                </c:pt>
                <c:pt idx="389">
                  <c:v>2.8122956180510084E-2</c:v>
                </c:pt>
                <c:pt idx="390">
                  <c:v>3.2658393207054104E-2</c:v>
                </c:pt>
                <c:pt idx="391">
                  <c:v>3.997378768020976E-2</c:v>
                </c:pt>
                <c:pt idx="392">
                  <c:v>3.7982973149967236E-2</c:v>
                </c:pt>
                <c:pt idx="393">
                  <c:v>3.1209362808842567E-2</c:v>
                </c:pt>
                <c:pt idx="394">
                  <c:v>3.1168831168831179E-2</c:v>
                </c:pt>
                <c:pt idx="395">
                  <c:v>3.3964728935336419E-2</c:v>
                </c:pt>
                <c:pt idx="396">
                  <c:v>2.8589993502274202E-2</c:v>
                </c:pt>
              </c:numCache>
            </c:numRef>
          </c:val>
          <c:extLst>
            <c:ext xmlns:c16="http://schemas.microsoft.com/office/drawing/2014/chart" uri="{C3380CC4-5D6E-409C-BE32-E72D297353CC}">
              <c16:uniqueId val="{00000000-3298-4AFE-9546-33D707467B25}"/>
            </c:ext>
          </c:extLst>
        </c:ser>
        <c:dLbls>
          <c:showLegendKey val="0"/>
          <c:showVal val="0"/>
          <c:showCatName val="0"/>
          <c:showSerName val="0"/>
          <c:showPercent val="0"/>
          <c:showBubbleSize val="0"/>
        </c:dLbls>
        <c:axId val="833076096"/>
        <c:axId val="711519840"/>
      </c:areaChart>
      <c:barChart>
        <c:barDir val="col"/>
        <c:grouping val="clustered"/>
        <c:varyColors val="0"/>
        <c:dLbls>
          <c:showLegendKey val="0"/>
          <c:showVal val="0"/>
          <c:showCatName val="0"/>
          <c:showSerName val="0"/>
          <c:showPercent val="0"/>
          <c:showBubbleSize val="0"/>
        </c:dLbls>
        <c:gapWidth val="219"/>
        <c:overlap val="-27"/>
        <c:axId val="833076096"/>
        <c:axId val="711519840"/>
        <c:extLst>
          <c:ext xmlns:c15="http://schemas.microsoft.com/office/drawing/2012/chart" uri="{02D57815-91ED-43cb-92C2-25804820EDAC}">
            <c15:filteredBarSeries>
              <c15:ser>
                <c:idx val="0"/>
                <c:order val="0"/>
                <c:tx>
                  <c:strRef>
                    <c:extLst>
                      <c:ext uri="{02D57815-91ED-43cb-92C2-25804820EDAC}">
                        <c15:formulaRef>
                          <c15:sqref>Sheet15!$B$2</c15:sqref>
                        </c15:formulaRef>
                      </c:ext>
                    </c:extLst>
                    <c:strCache>
                      <c:ptCount val="1"/>
                      <c:pt idx="0">
                        <c:v>All-items</c:v>
                      </c:pt>
                    </c:strCache>
                  </c:strRef>
                </c:tx>
                <c:spPr>
                  <a:solidFill>
                    <a:schemeClr val="accent1"/>
                  </a:solidFill>
                  <a:ln>
                    <a:noFill/>
                  </a:ln>
                  <a:effectLst/>
                </c:spPr>
                <c:invertIfNegative val="0"/>
                <c:cat>
                  <c:numRef>
                    <c:extLst>
                      <c:ext uri="{02D57815-91ED-43cb-92C2-25804820EDAC}">
                        <c15:formulaRef>
                          <c15:sqref>Sheet15!$A$3:$A$495</c15:sqref>
                        </c15:formulaRef>
                      </c:ext>
                    </c:extLst>
                    <c:numCache>
                      <c:formatCode>mmm\-yy</c:formatCode>
                      <c:ptCount val="397"/>
                      <c:pt idx="0">
                        <c:v>33239</c:v>
                      </c:pt>
                      <c:pt idx="1">
                        <c:v>33270</c:v>
                      </c:pt>
                      <c:pt idx="2">
                        <c:v>33298</c:v>
                      </c:pt>
                      <c:pt idx="3">
                        <c:v>33329</c:v>
                      </c:pt>
                      <c:pt idx="4">
                        <c:v>33359</c:v>
                      </c:pt>
                      <c:pt idx="5">
                        <c:v>33390</c:v>
                      </c:pt>
                      <c:pt idx="6">
                        <c:v>33420</c:v>
                      </c:pt>
                      <c:pt idx="7">
                        <c:v>33451</c:v>
                      </c:pt>
                      <c:pt idx="8">
                        <c:v>33482</c:v>
                      </c:pt>
                      <c:pt idx="9">
                        <c:v>33512</c:v>
                      </c:pt>
                      <c:pt idx="10">
                        <c:v>33543</c:v>
                      </c:pt>
                      <c:pt idx="11">
                        <c:v>33573</c:v>
                      </c:pt>
                      <c:pt idx="12">
                        <c:v>33604</c:v>
                      </c:pt>
                      <c:pt idx="13">
                        <c:v>33635</c:v>
                      </c:pt>
                      <c:pt idx="14">
                        <c:v>33664</c:v>
                      </c:pt>
                      <c:pt idx="15">
                        <c:v>33695</c:v>
                      </c:pt>
                      <c:pt idx="16">
                        <c:v>33725</c:v>
                      </c:pt>
                      <c:pt idx="17">
                        <c:v>33756</c:v>
                      </c:pt>
                      <c:pt idx="18">
                        <c:v>33786</c:v>
                      </c:pt>
                      <c:pt idx="19">
                        <c:v>33817</c:v>
                      </c:pt>
                      <c:pt idx="20">
                        <c:v>33848</c:v>
                      </c:pt>
                      <c:pt idx="21">
                        <c:v>33878</c:v>
                      </c:pt>
                      <c:pt idx="22">
                        <c:v>33909</c:v>
                      </c:pt>
                      <c:pt idx="23">
                        <c:v>33939</c:v>
                      </c:pt>
                      <c:pt idx="24">
                        <c:v>33970</c:v>
                      </c:pt>
                      <c:pt idx="25">
                        <c:v>34001</c:v>
                      </c:pt>
                      <c:pt idx="26">
                        <c:v>34029</c:v>
                      </c:pt>
                      <c:pt idx="27">
                        <c:v>34060</c:v>
                      </c:pt>
                      <c:pt idx="28">
                        <c:v>34090</c:v>
                      </c:pt>
                      <c:pt idx="29">
                        <c:v>34121</c:v>
                      </c:pt>
                      <c:pt idx="30">
                        <c:v>34151</c:v>
                      </c:pt>
                      <c:pt idx="31">
                        <c:v>34182</c:v>
                      </c:pt>
                      <c:pt idx="32">
                        <c:v>34213</c:v>
                      </c:pt>
                      <c:pt idx="33">
                        <c:v>34243</c:v>
                      </c:pt>
                      <c:pt idx="34">
                        <c:v>34274</c:v>
                      </c:pt>
                      <c:pt idx="35">
                        <c:v>34304</c:v>
                      </c:pt>
                      <c:pt idx="36">
                        <c:v>34335</c:v>
                      </c:pt>
                      <c:pt idx="37">
                        <c:v>34366</c:v>
                      </c:pt>
                      <c:pt idx="38">
                        <c:v>34394</c:v>
                      </c:pt>
                      <c:pt idx="39">
                        <c:v>34425</c:v>
                      </c:pt>
                      <c:pt idx="40">
                        <c:v>34455</c:v>
                      </c:pt>
                      <c:pt idx="41">
                        <c:v>34486</c:v>
                      </c:pt>
                      <c:pt idx="42">
                        <c:v>34516</c:v>
                      </c:pt>
                      <c:pt idx="43">
                        <c:v>34547</c:v>
                      </c:pt>
                      <c:pt idx="44">
                        <c:v>34578</c:v>
                      </c:pt>
                      <c:pt idx="45">
                        <c:v>34608</c:v>
                      </c:pt>
                      <c:pt idx="46">
                        <c:v>34639</c:v>
                      </c:pt>
                      <c:pt idx="47">
                        <c:v>34669</c:v>
                      </c:pt>
                      <c:pt idx="48">
                        <c:v>34700</c:v>
                      </c:pt>
                      <c:pt idx="49">
                        <c:v>34731</c:v>
                      </c:pt>
                      <c:pt idx="50">
                        <c:v>34759</c:v>
                      </c:pt>
                      <c:pt idx="51">
                        <c:v>34790</c:v>
                      </c:pt>
                      <c:pt idx="52">
                        <c:v>34820</c:v>
                      </c:pt>
                      <c:pt idx="53">
                        <c:v>34851</c:v>
                      </c:pt>
                      <c:pt idx="54">
                        <c:v>34881</c:v>
                      </c:pt>
                      <c:pt idx="55">
                        <c:v>34912</c:v>
                      </c:pt>
                      <c:pt idx="56">
                        <c:v>34943</c:v>
                      </c:pt>
                      <c:pt idx="57">
                        <c:v>34973</c:v>
                      </c:pt>
                      <c:pt idx="58">
                        <c:v>35004</c:v>
                      </c:pt>
                      <c:pt idx="59">
                        <c:v>35034</c:v>
                      </c:pt>
                      <c:pt idx="60">
                        <c:v>35065</c:v>
                      </c:pt>
                      <c:pt idx="61">
                        <c:v>35096</c:v>
                      </c:pt>
                      <c:pt idx="62">
                        <c:v>35125</c:v>
                      </c:pt>
                      <c:pt idx="63">
                        <c:v>35156</c:v>
                      </c:pt>
                      <c:pt idx="64">
                        <c:v>35186</c:v>
                      </c:pt>
                      <c:pt idx="65">
                        <c:v>35217</c:v>
                      </c:pt>
                      <c:pt idx="66">
                        <c:v>35247</c:v>
                      </c:pt>
                      <c:pt idx="67">
                        <c:v>35278</c:v>
                      </c:pt>
                      <c:pt idx="68">
                        <c:v>35309</c:v>
                      </c:pt>
                      <c:pt idx="69">
                        <c:v>35339</c:v>
                      </c:pt>
                      <c:pt idx="70">
                        <c:v>35370</c:v>
                      </c:pt>
                      <c:pt idx="71">
                        <c:v>35400</c:v>
                      </c:pt>
                      <c:pt idx="72">
                        <c:v>35431</c:v>
                      </c:pt>
                      <c:pt idx="73">
                        <c:v>35462</c:v>
                      </c:pt>
                      <c:pt idx="74">
                        <c:v>35490</c:v>
                      </c:pt>
                      <c:pt idx="75">
                        <c:v>35521</c:v>
                      </c:pt>
                      <c:pt idx="76">
                        <c:v>35551</c:v>
                      </c:pt>
                      <c:pt idx="77">
                        <c:v>35582</c:v>
                      </c:pt>
                      <c:pt idx="78">
                        <c:v>35612</c:v>
                      </c:pt>
                      <c:pt idx="79">
                        <c:v>35643</c:v>
                      </c:pt>
                      <c:pt idx="80">
                        <c:v>35674</c:v>
                      </c:pt>
                      <c:pt idx="81">
                        <c:v>35704</c:v>
                      </c:pt>
                      <c:pt idx="82">
                        <c:v>35735</c:v>
                      </c:pt>
                      <c:pt idx="83">
                        <c:v>35765</c:v>
                      </c:pt>
                      <c:pt idx="84">
                        <c:v>35796</c:v>
                      </c:pt>
                      <c:pt idx="85">
                        <c:v>35827</c:v>
                      </c:pt>
                      <c:pt idx="86">
                        <c:v>35855</c:v>
                      </c:pt>
                      <c:pt idx="87">
                        <c:v>35886</c:v>
                      </c:pt>
                      <c:pt idx="88">
                        <c:v>35916</c:v>
                      </c:pt>
                      <c:pt idx="89">
                        <c:v>35947</c:v>
                      </c:pt>
                      <c:pt idx="90">
                        <c:v>35977</c:v>
                      </c:pt>
                      <c:pt idx="91">
                        <c:v>36008</c:v>
                      </c:pt>
                      <c:pt idx="92">
                        <c:v>36039</c:v>
                      </c:pt>
                      <c:pt idx="93">
                        <c:v>36069</c:v>
                      </c:pt>
                      <c:pt idx="94">
                        <c:v>36100</c:v>
                      </c:pt>
                      <c:pt idx="95">
                        <c:v>36130</c:v>
                      </c:pt>
                      <c:pt idx="96">
                        <c:v>36161</c:v>
                      </c:pt>
                      <c:pt idx="97">
                        <c:v>36192</c:v>
                      </c:pt>
                      <c:pt idx="98">
                        <c:v>36220</c:v>
                      </c:pt>
                      <c:pt idx="99">
                        <c:v>36251</c:v>
                      </c:pt>
                      <c:pt idx="100">
                        <c:v>36281</c:v>
                      </c:pt>
                      <c:pt idx="101">
                        <c:v>36312</c:v>
                      </c:pt>
                      <c:pt idx="102">
                        <c:v>36342</c:v>
                      </c:pt>
                      <c:pt idx="103">
                        <c:v>36373</c:v>
                      </c:pt>
                      <c:pt idx="104">
                        <c:v>36404</c:v>
                      </c:pt>
                      <c:pt idx="105">
                        <c:v>36434</c:v>
                      </c:pt>
                      <c:pt idx="106">
                        <c:v>36465</c:v>
                      </c:pt>
                      <c:pt idx="107">
                        <c:v>36495</c:v>
                      </c:pt>
                      <c:pt idx="108">
                        <c:v>36526</c:v>
                      </c:pt>
                      <c:pt idx="109">
                        <c:v>36557</c:v>
                      </c:pt>
                      <c:pt idx="110">
                        <c:v>36586</c:v>
                      </c:pt>
                      <c:pt idx="111">
                        <c:v>36617</c:v>
                      </c:pt>
                      <c:pt idx="112">
                        <c:v>36647</c:v>
                      </c:pt>
                      <c:pt idx="113">
                        <c:v>36678</c:v>
                      </c:pt>
                      <c:pt idx="114">
                        <c:v>36708</c:v>
                      </c:pt>
                      <c:pt idx="115">
                        <c:v>36739</c:v>
                      </c:pt>
                      <c:pt idx="116">
                        <c:v>36770</c:v>
                      </c:pt>
                      <c:pt idx="117">
                        <c:v>36800</c:v>
                      </c:pt>
                      <c:pt idx="118">
                        <c:v>36831</c:v>
                      </c:pt>
                      <c:pt idx="119">
                        <c:v>36861</c:v>
                      </c:pt>
                      <c:pt idx="120">
                        <c:v>36892</c:v>
                      </c:pt>
                      <c:pt idx="121">
                        <c:v>36923</c:v>
                      </c:pt>
                      <c:pt idx="122">
                        <c:v>36951</c:v>
                      </c:pt>
                      <c:pt idx="123">
                        <c:v>36982</c:v>
                      </c:pt>
                      <c:pt idx="124">
                        <c:v>37012</c:v>
                      </c:pt>
                      <c:pt idx="125">
                        <c:v>37043</c:v>
                      </c:pt>
                      <c:pt idx="126">
                        <c:v>37073</c:v>
                      </c:pt>
                      <c:pt idx="127">
                        <c:v>37104</c:v>
                      </c:pt>
                      <c:pt idx="128">
                        <c:v>37135</c:v>
                      </c:pt>
                      <c:pt idx="129">
                        <c:v>37165</c:v>
                      </c:pt>
                      <c:pt idx="130">
                        <c:v>37196</c:v>
                      </c:pt>
                      <c:pt idx="131">
                        <c:v>37226</c:v>
                      </c:pt>
                      <c:pt idx="132">
                        <c:v>37257</c:v>
                      </c:pt>
                      <c:pt idx="133">
                        <c:v>37288</c:v>
                      </c:pt>
                      <c:pt idx="134">
                        <c:v>37316</c:v>
                      </c:pt>
                      <c:pt idx="135">
                        <c:v>37347</c:v>
                      </c:pt>
                      <c:pt idx="136">
                        <c:v>37377</c:v>
                      </c:pt>
                      <c:pt idx="137">
                        <c:v>37408</c:v>
                      </c:pt>
                      <c:pt idx="138">
                        <c:v>37438</c:v>
                      </c:pt>
                      <c:pt idx="139">
                        <c:v>37469</c:v>
                      </c:pt>
                      <c:pt idx="140">
                        <c:v>37500</c:v>
                      </c:pt>
                      <c:pt idx="141">
                        <c:v>37530</c:v>
                      </c:pt>
                      <c:pt idx="142">
                        <c:v>37561</c:v>
                      </c:pt>
                      <c:pt idx="143">
                        <c:v>37591</c:v>
                      </c:pt>
                      <c:pt idx="144">
                        <c:v>37622</c:v>
                      </c:pt>
                      <c:pt idx="145">
                        <c:v>37653</c:v>
                      </c:pt>
                      <c:pt idx="146">
                        <c:v>37681</c:v>
                      </c:pt>
                      <c:pt idx="147">
                        <c:v>37712</c:v>
                      </c:pt>
                      <c:pt idx="148">
                        <c:v>37742</c:v>
                      </c:pt>
                      <c:pt idx="149">
                        <c:v>37773</c:v>
                      </c:pt>
                      <c:pt idx="150">
                        <c:v>37803</c:v>
                      </c:pt>
                      <c:pt idx="151">
                        <c:v>37834</c:v>
                      </c:pt>
                      <c:pt idx="152">
                        <c:v>37865</c:v>
                      </c:pt>
                      <c:pt idx="153">
                        <c:v>37895</c:v>
                      </c:pt>
                      <c:pt idx="154">
                        <c:v>37926</c:v>
                      </c:pt>
                      <c:pt idx="155">
                        <c:v>37956</c:v>
                      </c:pt>
                      <c:pt idx="156">
                        <c:v>37987</c:v>
                      </c:pt>
                      <c:pt idx="157">
                        <c:v>38018</c:v>
                      </c:pt>
                      <c:pt idx="158">
                        <c:v>38047</c:v>
                      </c:pt>
                      <c:pt idx="159">
                        <c:v>38078</c:v>
                      </c:pt>
                      <c:pt idx="160">
                        <c:v>38108</c:v>
                      </c:pt>
                      <c:pt idx="161">
                        <c:v>38139</c:v>
                      </c:pt>
                      <c:pt idx="162">
                        <c:v>38169</c:v>
                      </c:pt>
                      <c:pt idx="163">
                        <c:v>38200</c:v>
                      </c:pt>
                      <c:pt idx="164">
                        <c:v>38231</c:v>
                      </c:pt>
                      <c:pt idx="165">
                        <c:v>38261</c:v>
                      </c:pt>
                      <c:pt idx="166">
                        <c:v>38292</c:v>
                      </c:pt>
                      <c:pt idx="167">
                        <c:v>38322</c:v>
                      </c:pt>
                      <c:pt idx="168">
                        <c:v>38353</c:v>
                      </c:pt>
                      <c:pt idx="169">
                        <c:v>38384</c:v>
                      </c:pt>
                      <c:pt idx="170">
                        <c:v>38412</c:v>
                      </c:pt>
                      <c:pt idx="171">
                        <c:v>38443</c:v>
                      </c:pt>
                      <c:pt idx="172">
                        <c:v>38473</c:v>
                      </c:pt>
                      <c:pt idx="173">
                        <c:v>38504</c:v>
                      </c:pt>
                      <c:pt idx="174">
                        <c:v>38534</c:v>
                      </c:pt>
                      <c:pt idx="175">
                        <c:v>38565</c:v>
                      </c:pt>
                      <c:pt idx="176">
                        <c:v>38596</c:v>
                      </c:pt>
                      <c:pt idx="177">
                        <c:v>38626</c:v>
                      </c:pt>
                      <c:pt idx="178">
                        <c:v>38657</c:v>
                      </c:pt>
                      <c:pt idx="179">
                        <c:v>38687</c:v>
                      </c:pt>
                      <c:pt idx="180">
                        <c:v>38718</c:v>
                      </c:pt>
                      <c:pt idx="181">
                        <c:v>38749</c:v>
                      </c:pt>
                      <c:pt idx="182">
                        <c:v>38777</c:v>
                      </c:pt>
                      <c:pt idx="183">
                        <c:v>38808</c:v>
                      </c:pt>
                      <c:pt idx="184">
                        <c:v>38838</c:v>
                      </c:pt>
                      <c:pt idx="185">
                        <c:v>38869</c:v>
                      </c:pt>
                      <c:pt idx="186">
                        <c:v>38899</c:v>
                      </c:pt>
                      <c:pt idx="187">
                        <c:v>38930</c:v>
                      </c:pt>
                      <c:pt idx="188">
                        <c:v>38961</c:v>
                      </c:pt>
                      <c:pt idx="189">
                        <c:v>38991</c:v>
                      </c:pt>
                      <c:pt idx="190">
                        <c:v>39022</c:v>
                      </c:pt>
                      <c:pt idx="191">
                        <c:v>39052</c:v>
                      </c:pt>
                      <c:pt idx="192">
                        <c:v>39083</c:v>
                      </c:pt>
                      <c:pt idx="193">
                        <c:v>39114</c:v>
                      </c:pt>
                      <c:pt idx="194">
                        <c:v>39142</c:v>
                      </c:pt>
                      <c:pt idx="195">
                        <c:v>39173</c:v>
                      </c:pt>
                      <c:pt idx="196">
                        <c:v>39203</c:v>
                      </c:pt>
                      <c:pt idx="197">
                        <c:v>39234</c:v>
                      </c:pt>
                      <c:pt idx="198">
                        <c:v>39264</c:v>
                      </c:pt>
                      <c:pt idx="199">
                        <c:v>39295</c:v>
                      </c:pt>
                      <c:pt idx="200">
                        <c:v>39326</c:v>
                      </c:pt>
                      <c:pt idx="201">
                        <c:v>39356</c:v>
                      </c:pt>
                      <c:pt idx="202">
                        <c:v>39387</c:v>
                      </c:pt>
                      <c:pt idx="203">
                        <c:v>39417</c:v>
                      </c:pt>
                      <c:pt idx="204">
                        <c:v>39448</c:v>
                      </c:pt>
                      <c:pt idx="205">
                        <c:v>39479</c:v>
                      </c:pt>
                      <c:pt idx="206">
                        <c:v>39508</c:v>
                      </c:pt>
                      <c:pt idx="207">
                        <c:v>39539</c:v>
                      </c:pt>
                      <c:pt idx="208">
                        <c:v>39569</c:v>
                      </c:pt>
                      <c:pt idx="209">
                        <c:v>39600</c:v>
                      </c:pt>
                      <c:pt idx="210">
                        <c:v>39630</c:v>
                      </c:pt>
                      <c:pt idx="211">
                        <c:v>39661</c:v>
                      </c:pt>
                      <c:pt idx="212">
                        <c:v>39692</c:v>
                      </c:pt>
                      <c:pt idx="213">
                        <c:v>39722</c:v>
                      </c:pt>
                      <c:pt idx="214">
                        <c:v>39753</c:v>
                      </c:pt>
                      <c:pt idx="215">
                        <c:v>39783</c:v>
                      </c:pt>
                      <c:pt idx="216">
                        <c:v>39814</c:v>
                      </c:pt>
                      <c:pt idx="217">
                        <c:v>39845</c:v>
                      </c:pt>
                      <c:pt idx="218">
                        <c:v>39873</c:v>
                      </c:pt>
                      <c:pt idx="219">
                        <c:v>39904</c:v>
                      </c:pt>
                      <c:pt idx="220">
                        <c:v>39934</c:v>
                      </c:pt>
                      <c:pt idx="221">
                        <c:v>39965</c:v>
                      </c:pt>
                      <c:pt idx="222">
                        <c:v>39995</c:v>
                      </c:pt>
                      <c:pt idx="223">
                        <c:v>40026</c:v>
                      </c:pt>
                      <c:pt idx="224">
                        <c:v>40057</c:v>
                      </c:pt>
                      <c:pt idx="225">
                        <c:v>40087</c:v>
                      </c:pt>
                      <c:pt idx="226">
                        <c:v>40118</c:v>
                      </c:pt>
                      <c:pt idx="227">
                        <c:v>40148</c:v>
                      </c:pt>
                      <c:pt idx="228">
                        <c:v>40179</c:v>
                      </c:pt>
                      <c:pt idx="229">
                        <c:v>40210</c:v>
                      </c:pt>
                      <c:pt idx="230">
                        <c:v>40238</c:v>
                      </c:pt>
                      <c:pt idx="231">
                        <c:v>40269</c:v>
                      </c:pt>
                      <c:pt idx="232">
                        <c:v>40299</c:v>
                      </c:pt>
                      <c:pt idx="233">
                        <c:v>40330</c:v>
                      </c:pt>
                      <c:pt idx="234">
                        <c:v>40360</c:v>
                      </c:pt>
                      <c:pt idx="235">
                        <c:v>40391</c:v>
                      </c:pt>
                      <c:pt idx="236">
                        <c:v>40422</c:v>
                      </c:pt>
                      <c:pt idx="237">
                        <c:v>40452</c:v>
                      </c:pt>
                      <c:pt idx="238">
                        <c:v>40483</c:v>
                      </c:pt>
                      <c:pt idx="239">
                        <c:v>40513</c:v>
                      </c:pt>
                      <c:pt idx="240">
                        <c:v>40544</c:v>
                      </c:pt>
                      <c:pt idx="241">
                        <c:v>40575</c:v>
                      </c:pt>
                      <c:pt idx="242">
                        <c:v>40603</c:v>
                      </c:pt>
                      <c:pt idx="243">
                        <c:v>40634</c:v>
                      </c:pt>
                      <c:pt idx="244">
                        <c:v>40664</c:v>
                      </c:pt>
                      <c:pt idx="245">
                        <c:v>40695</c:v>
                      </c:pt>
                      <c:pt idx="246">
                        <c:v>40725</c:v>
                      </c:pt>
                      <c:pt idx="247">
                        <c:v>40756</c:v>
                      </c:pt>
                      <c:pt idx="248">
                        <c:v>40787</c:v>
                      </c:pt>
                      <c:pt idx="249">
                        <c:v>40817</c:v>
                      </c:pt>
                      <c:pt idx="250">
                        <c:v>40848</c:v>
                      </c:pt>
                      <c:pt idx="251">
                        <c:v>40878</c:v>
                      </c:pt>
                      <c:pt idx="252">
                        <c:v>40909</c:v>
                      </c:pt>
                      <c:pt idx="253">
                        <c:v>40940</c:v>
                      </c:pt>
                      <c:pt idx="254">
                        <c:v>40969</c:v>
                      </c:pt>
                      <c:pt idx="255">
                        <c:v>41000</c:v>
                      </c:pt>
                      <c:pt idx="256">
                        <c:v>41030</c:v>
                      </c:pt>
                      <c:pt idx="257">
                        <c:v>41061</c:v>
                      </c:pt>
                      <c:pt idx="258">
                        <c:v>41091</c:v>
                      </c:pt>
                      <c:pt idx="259">
                        <c:v>41122</c:v>
                      </c:pt>
                      <c:pt idx="260">
                        <c:v>41153</c:v>
                      </c:pt>
                      <c:pt idx="261">
                        <c:v>41183</c:v>
                      </c:pt>
                      <c:pt idx="262">
                        <c:v>41214</c:v>
                      </c:pt>
                      <c:pt idx="263">
                        <c:v>41244</c:v>
                      </c:pt>
                      <c:pt idx="264">
                        <c:v>41275</c:v>
                      </c:pt>
                      <c:pt idx="265">
                        <c:v>41306</c:v>
                      </c:pt>
                      <c:pt idx="266">
                        <c:v>41334</c:v>
                      </c:pt>
                      <c:pt idx="267">
                        <c:v>41365</c:v>
                      </c:pt>
                      <c:pt idx="268">
                        <c:v>41395</c:v>
                      </c:pt>
                      <c:pt idx="269">
                        <c:v>41426</c:v>
                      </c:pt>
                      <c:pt idx="270">
                        <c:v>41456</c:v>
                      </c:pt>
                      <c:pt idx="271">
                        <c:v>41487</c:v>
                      </c:pt>
                      <c:pt idx="272">
                        <c:v>41518</c:v>
                      </c:pt>
                      <c:pt idx="273">
                        <c:v>41548</c:v>
                      </c:pt>
                      <c:pt idx="274">
                        <c:v>41579</c:v>
                      </c:pt>
                      <c:pt idx="275">
                        <c:v>41609</c:v>
                      </c:pt>
                      <c:pt idx="276">
                        <c:v>41640</c:v>
                      </c:pt>
                      <c:pt idx="277">
                        <c:v>41671</c:v>
                      </c:pt>
                      <c:pt idx="278">
                        <c:v>41699</c:v>
                      </c:pt>
                      <c:pt idx="279">
                        <c:v>41730</c:v>
                      </c:pt>
                      <c:pt idx="280">
                        <c:v>41760</c:v>
                      </c:pt>
                      <c:pt idx="281">
                        <c:v>41791</c:v>
                      </c:pt>
                      <c:pt idx="282">
                        <c:v>41821</c:v>
                      </c:pt>
                      <c:pt idx="283">
                        <c:v>41852</c:v>
                      </c:pt>
                      <c:pt idx="284">
                        <c:v>41883</c:v>
                      </c:pt>
                      <c:pt idx="285">
                        <c:v>41913</c:v>
                      </c:pt>
                      <c:pt idx="286">
                        <c:v>41944</c:v>
                      </c:pt>
                      <c:pt idx="287">
                        <c:v>41974</c:v>
                      </c:pt>
                      <c:pt idx="288">
                        <c:v>42005</c:v>
                      </c:pt>
                      <c:pt idx="289">
                        <c:v>42036</c:v>
                      </c:pt>
                      <c:pt idx="290">
                        <c:v>42064</c:v>
                      </c:pt>
                      <c:pt idx="291">
                        <c:v>42095</c:v>
                      </c:pt>
                      <c:pt idx="292">
                        <c:v>42125</c:v>
                      </c:pt>
                      <c:pt idx="293">
                        <c:v>42156</c:v>
                      </c:pt>
                      <c:pt idx="294">
                        <c:v>42186</c:v>
                      </c:pt>
                      <c:pt idx="295">
                        <c:v>42217</c:v>
                      </c:pt>
                      <c:pt idx="296">
                        <c:v>42248</c:v>
                      </c:pt>
                      <c:pt idx="297">
                        <c:v>42278</c:v>
                      </c:pt>
                      <c:pt idx="298">
                        <c:v>42309</c:v>
                      </c:pt>
                      <c:pt idx="299">
                        <c:v>42339</c:v>
                      </c:pt>
                      <c:pt idx="300">
                        <c:v>42370</c:v>
                      </c:pt>
                      <c:pt idx="301">
                        <c:v>42401</c:v>
                      </c:pt>
                      <c:pt idx="302">
                        <c:v>42430</c:v>
                      </c:pt>
                      <c:pt idx="303">
                        <c:v>42461</c:v>
                      </c:pt>
                      <c:pt idx="304">
                        <c:v>42491</c:v>
                      </c:pt>
                      <c:pt idx="305">
                        <c:v>42522</c:v>
                      </c:pt>
                      <c:pt idx="306">
                        <c:v>42552</c:v>
                      </c:pt>
                      <c:pt idx="307">
                        <c:v>42583</c:v>
                      </c:pt>
                      <c:pt idx="308">
                        <c:v>42614</c:v>
                      </c:pt>
                      <c:pt idx="309">
                        <c:v>42644</c:v>
                      </c:pt>
                      <c:pt idx="310">
                        <c:v>42675</c:v>
                      </c:pt>
                      <c:pt idx="311">
                        <c:v>42705</c:v>
                      </c:pt>
                      <c:pt idx="312">
                        <c:v>42736</c:v>
                      </c:pt>
                      <c:pt idx="313">
                        <c:v>42767</c:v>
                      </c:pt>
                      <c:pt idx="314">
                        <c:v>42795</c:v>
                      </c:pt>
                      <c:pt idx="315">
                        <c:v>42826</c:v>
                      </c:pt>
                      <c:pt idx="316">
                        <c:v>42856</c:v>
                      </c:pt>
                      <c:pt idx="317">
                        <c:v>42887</c:v>
                      </c:pt>
                      <c:pt idx="318">
                        <c:v>42917</c:v>
                      </c:pt>
                      <c:pt idx="319">
                        <c:v>42948</c:v>
                      </c:pt>
                      <c:pt idx="320">
                        <c:v>42979</c:v>
                      </c:pt>
                      <c:pt idx="321">
                        <c:v>43009</c:v>
                      </c:pt>
                      <c:pt idx="322">
                        <c:v>43040</c:v>
                      </c:pt>
                      <c:pt idx="323">
                        <c:v>43070</c:v>
                      </c:pt>
                      <c:pt idx="324">
                        <c:v>43101</c:v>
                      </c:pt>
                      <c:pt idx="325">
                        <c:v>43132</c:v>
                      </c:pt>
                      <c:pt idx="326">
                        <c:v>43160</c:v>
                      </c:pt>
                      <c:pt idx="327">
                        <c:v>43191</c:v>
                      </c:pt>
                      <c:pt idx="328">
                        <c:v>43221</c:v>
                      </c:pt>
                      <c:pt idx="329">
                        <c:v>43252</c:v>
                      </c:pt>
                      <c:pt idx="330">
                        <c:v>43282</c:v>
                      </c:pt>
                      <c:pt idx="331">
                        <c:v>43313</c:v>
                      </c:pt>
                      <c:pt idx="332">
                        <c:v>43344</c:v>
                      </c:pt>
                      <c:pt idx="333">
                        <c:v>43374</c:v>
                      </c:pt>
                      <c:pt idx="334">
                        <c:v>43405</c:v>
                      </c:pt>
                      <c:pt idx="335">
                        <c:v>43435</c:v>
                      </c:pt>
                      <c:pt idx="336">
                        <c:v>43466</c:v>
                      </c:pt>
                      <c:pt idx="337">
                        <c:v>43497</c:v>
                      </c:pt>
                      <c:pt idx="338">
                        <c:v>43525</c:v>
                      </c:pt>
                      <c:pt idx="339">
                        <c:v>43556</c:v>
                      </c:pt>
                      <c:pt idx="340">
                        <c:v>43586</c:v>
                      </c:pt>
                      <c:pt idx="341">
                        <c:v>43617</c:v>
                      </c:pt>
                      <c:pt idx="342">
                        <c:v>43647</c:v>
                      </c:pt>
                      <c:pt idx="343">
                        <c:v>43678</c:v>
                      </c:pt>
                      <c:pt idx="344">
                        <c:v>43709</c:v>
                      </c:pt>
                      <c:pt idx="345">
                        <c:v>43739</c:v>
                      </c:pt>
                      <c:pt idx="346">
                        <c:v>43770</c:v>
                      </c:pt>
                      <c:pt idx="347">
                        <c:v>43800</c:v>
                      </c:pt>
                      <c:pt idx="348">
                        <c:v>43831</c:v>
                      </c:pt>
                      <c:pt idx="349">
                        <c:v>43862</c:v>
                      </c:pt>
                      <c:pt idx="350">
                        <c:v>43891</c:v>
                      </c:pt>
                      <c:pt idx="351">
                        <c:v>43922</c:v>
                      </c:pt>
                      <c:pt idx="352">
                        <c:v>43952</c:v>
                      </c:pt>
                      <c:pt idx="353">
                        <c:v>43983</c:v>
                      </c:pt>
                      <c:pt idx="354">
                        <c:v>44013</c:v>
                      </c:pt>
                      <c:pt idx="355">
                        <c:v>44044</c:v>
                      </c:pt>
                      <c:pt idx="356">
                        <c:v>44075</c:v>
                      </c:pt>
                      <c:pt idx="357">
                        <c:v>44105</c:v>
                      </c:pt>
                      <c:pt idx="358">
                        <c:v>44136</c:v>
                      </c:pt>
                      <c:pt idx="359">
                        <c:v>44166</c:v>
                      </c:pt>
                      <c:pt idx="360">
                        <c:v>44197</c:v>
                      </c:pt>
                      <c:pt idx="361">
                        <c:v>44228</c:v>
                      </c:pt>
                      <c:pt idx="362">
                        <c:v>44256</c:v>
                      </c:pt>
                      <c:pt idx="363">
                        <c:v>44287</c:v>
                      </c:pt>
                      <c:pt idx="364">
                        <c:v>44317</c:v>
                      </c:pt>
                      <c:pt idx="365">
                        <c:v>44348</c:v>
                      </c:pt>
                      <c:pt idx="366">
                        <c:v>44378</c:v>
                      </c:pt>
                      <c:pt idx="367">
                        <c:v>44409</c:v>
                      </c:pt>
                      <c:pt idx="368">
                        <c:v>44440</c:v>
                      </c:pt>
                      <c:pt idx="369">
                        <c:v>44470</c:v>
                      </c:pt>
                      <c:pt idx="370">
                        <c:v>44501</c:v>
                      </c:pt>
                      <c:pt idx="371">
                        <c:v>44531</c:v>
                      </c:pt>
                      <c:pt idx="372">
                        <c:v>44562</c:v>
                      </c:pt>
                      <c:pt idx="373">
                        <c:v>44593</c:v>
                      </c:pt>
                      <c:pt idx="374">
                        <c:v>44621</c:v>
                      </c:pt>
                      <c:pt idx="375">
                        <c:v>44652</c:v>
                      </c:pt>
                      <c:pt idx="376">
                        <c:v>44682</c:v>
                      </c:pt>
                      <c:pt idx="377">
                        <c:v>44713</c:v>
                      </c:pt>
                      <c:pt idx="378">
                        <c:v>44743</c:v>
                      </c:pt>
                      <c:pt idx="379">
                        <c:v>44774</c:v>
                      </c:pt>
                      <c:pt idx="380">
                        <c:v>44805</c:v>
                      </c:pt>
                      <c:pt idx="381">
                        <c:v>44835</c:v>
                      </c:pt>
                      <c:pt idx="382">
                        <c:v>44866</c:v>
                      </c:pt>
                      <c:pt idx="383">
                        <c:v>44896</c:v>
                      </c:pt>
                      <c:pt idx="384">
                        <c:v>44927</c:v>
                      </c:pt>
                      <c:pt idx="385">
                        <c:v>44958</c:v>
                      </c:pt>
                      <c:pt idx="386">
                        <c:v>44986</c:v>
                      </c:pt>
                      <c:pt idx="387">
                        <c:v>45017</c:v>
                      </c:pt>
                      <c:pt idx="388">
                        <c:v>45047</c:v>
                      </c:pt>
                      <c:pt idx="389">
                        <c:v>45078</c:v>
                      </c:pt>
                      <c:pt idx="390">
                        <c:v>45108</c:v>
                      </c:pt>
                      <c:pt idx="391">
                        <c:v>45139</c:v>
                      </c:pt>
                      <c:pt idx="392">
                        <c:v>45170</c:v>
                      </c:pt>
                      <c:pt idx="393">
                        <c:v>45200</c:v>
                      </c:pt>
                      <c:pt idx="394">
                        <c:v>45231</c:v>
                      </c:pt>
                      <c:pt idx="395">
                        <c:v>45261</c:v>
                      </c:pt>
                      <c:pt idx="396">
                        <c:v>45292</c:v>
                      </c:pt>
                    </c:numCache>
                  </c:numRef>
                </c:cat>
                <c:val>
                  <c:numRef>
                    <c:extLst>
                      <c:ext uri="{02D57815-91ED-43cb-92C2-25804820EDAC}">
                        <c15:formulaRef>
                          <c15:sqref>Sheet15!$B$3:$B$495</c15:sqref>
                        </c15:formulaRef>
                      </c:ext>
                    </c:extLst>
                    <c:numCache>
                      <c:formatCode>General</c:formatCode>
                      <c:ptCount val="397"/>
                      <c:pt idx="0">
                        <c:v>82</c:v>
                      </c:pt>
                      <c:pt idx="1">
                        <c:v>82</c:v>
                      </c:pt>
                      <c:pt idx="2">
                        <c:v>82.3</c:v>
                      </c:pt>
                      <c:pt idx="3">
                        <c:v>82.3</c:v>
                      </c:pt>
                      <c:pt idx="4">
                        <c:v>82.7</c:v>
                      </c:pt>
                      <c:pt idx="5">
                        <c:v>83.1</c:v>
                      </c:pt>
                      <c:pt idx="6">
                        <c:v>83.2</c:v>
                      </c:pt>
                      <c:pt idx="7">
                        <c:v>83.3</c:v>
                      </c:pt>
                      <c:pt idx="8">
                        <c:v>83.1</c:v>
                      </c:pt>
                      <c:pt idx="9">
                        <c:v>83</c:v>
                      </c:pt>
                      <c:pt idx="10">
                        <c:v>83.3</c:v>
                      </c:pt>
                      <c:pt idx="11">
                        <c:v>82.9</c:v>
                      </c:pt>
                      <c:pt idx="12">
                        <c:v>83.3</c:v>
                      </c:pt>
                      <c:pt idx="13">
                        <c:v>83.3</c:v>
                      </c:pt>
                      <c:pt idx="14">
                        <c:v>83.6</c:v>
                      </c:pt>
                      <c:pt idx="15">
                        <c:v>83.7</c:v>
                      </c:pt>
                      <c:pt idx="16">
                        <c:v>83.8</c:v>
                      </c:pt>
                      <c:pt idx="17">
                        <c:v>84</c:v>
                      </c:pt>
                      <c:pt idx="18">
                        <c:v>84.2</c:v>
                      </c:pt>
                      <c:pt idx="19">
                        <c:v>84.2</c:v>
                      </c:pt>
                      <c:pt idx="20">
                        <c:v>84.2</c:v>
                      </c:pt>
                      <c:pt idx="21">
                        <c:v>84.3</c:v>
                      </c:pt>
                      <c:pt idx="22">
                        <c:v>84.7</c:v>
                      </c:pt>
                      <c:pt idx="23">
                        <c:v>84.7</c:v>
                      </c:pt>
                      <c:pt idx="24">
                        <c:v>85</c:v>
                      </c:pt>
                      <c:pt idx="25">
                        <c:v>85.3</c:v>
                      </c:pt>
                      <c:pt idx="26">
                        <c:v>85.2</c:v>
                      </c:pt>
                      <c:pt idx="27">
                        <c:v>85.2</c:v>
                      </c:pt>
                      <c:pt idx="28">
                        <c:v>85.4</c:v>
                      </c:pt>
                      <c:pt idx="29">
                        <c:v>85.4</c:v>
                      </c:pt>
                      <c:pt idx="30">
                        <c:v>85.6</c:v>
                      </c:pt>
                      <c:pt idx="31">
                        <c:v>85.7</c:v>
                      </c:pt>
                      <c:pt idx="32">
                        <c:v>85.7</c:v>
                      </c:pt>
                      <c:pt idx="33">
                        <c:v>85.9</c:v>
                      </c:pt>
                      <c:pt idx="34">
                        <c:v>86.3</c:v>
                      </c:pt>
                      <c:pt idx="35">
                        <c:v>86.1</c:v>
                      </c:pt>
                      <c:pt idx="36">
                        <c:v>86.1</c:v>
                      </c:pt>
                      <c:pt idx="37">
                        <c:v>85.4</c:v>
                      </c:pt>
                      <c:pt idx="38">
                        <c:v>85.4</c:v>
                      </c:pt>
                      <c:pt idx="39">
                        <c:v>85.4</c:v>
                      </c:pt>
                      <c:pt idx="40">
                        <c:v>85.2</c:v>
                      </c:pt>
                      <c:pt idx="41">
                        <c:v>85.4</c:v>
                      </c:pt>
                      <c:pt idx="42">
                        <c:v>85.7</c:v>
                      </c:pt>
                      <c:pt idx="43">
                        <c:v>85.8</c:v>
                      </c:pt>
                      <c:pt idx="44">
                        <c:v>85.9</c:v>
                      </c:pt>
                      <c:pt idx="45">
                        <c:v>85.7</c:v>
                      </c:pt>
                      <c:pt idx="46">
                        <c:v>86.2</c:v>
                      </c:pt>
                      <c:pt idx="47">
                        <c:v>86.3</c:v>
                      </c:pt>
                      <c:pt idx="48">
                        <c:v>86.6</c:v>
                      </c:pt>
                      <c:pt idx="49">
                        <c:v>87</c:v>
                      </c:pt>
                      <c:pt idx="50">
                        <c:v>87.2</c:v>
                      </c:pt>
                      <c:pt idx="51">
                        <c:v>87.5</c:v>
                      </c:pt>
                      <c:pt idx="52">
                        <c:v>87.7</c:v>
                      </c:pt>
                      <c:pt idx="53">
                        <c:v>87.7</c:v>
                      </c:pt>
                      <c:pt idx="54">
                        <c:v>87.9</c:v>
                      </c:pt>
                      <c:pt idx="55">
                        <c:v>87.7</c:v>
                      </c:pt>
                      <c:pt idx="56">
                        <c:v>87.8</c:v>
                      </c:pt>
                      <c:pt idx="57">
                        <c:v>87.7</c:v>
                      </c:pt>
                      <c:pt idx="58">
                        <c:v>88</c:v>
                      </c:pt>
                      <c:pt idx="59">
                        <c:v>87.8</c:v>
                      </c:pt>
                      <c:pt idx="60">
                        <c:v>88</c:v>
                      </c:pt>
                      <c:pt idx="61">
                        <c:v>88.1</c:v>
                      </c:pt>
                      <c:pt idx="62">
                        <c:v>88.5</c:v>
                      </c:pt>
                      <c:pt idx="63">
                        <c:v>88.7</c:v>
                      </c:pt>
                      <c:pt idx="64">
                        <c:v>89</c:v>
                      </c:pt>
                      <c:pt idx="65">
                        <c:v>89</c:v>
                      </c:pt>
                      <c:pt idx="66">
                        <c:v>89</c:v>
                      </c:pt>
                      <c:pt idx="67">
                        <c:v>89</c:v>
                      </c:pt>
                      <c:pt idx="68">
                        <c:v>89.1</c:v>
                      </c:pt>
                      <c:pt idx="69">
                        <c:v>89.3</c:v>
                      </c:pt>
                      <c:pt idx="70">
                        <c:v>89.7</c:v>
                      </c:pt>
                      <c:pt idx="71">
                        <c:v>89.7</c:v>
                      </c:pt>
                      <c:pt idx="72">
                        <c:v>89.9</c:v>
                      </c:pt>
                      <c:pt idx="73">
                        <c:v>90.1</c:v>
                      </c:pt>
                      <c:pt idx="74">
                        <c:v>90.2</c:v>
                      </c:pt>
                      <c:pt idx="75">
                        <c:v>90.2</c:v>
                      </c:pt>
                      <c:pt idx="76">
                        <c:v>90.3</c:v>
                      </c:pt>
                      <c:pt idx="77">
                        <c:v>90.5</c:v>
                      </c:pt>
                      <c:pt idx="78">
                        <c:v>90.5</c:v>
                      </c:pt>
                      <c:pt idx="79">
                        <c:v>90.6</c:v>
                      </c:pt>
                      <c:pt idx="80">
                        <c:v>90.6</c:v>
                      </c:pt>
                      <c:pt idx="81">
                        <c:v>90.6</c:v>
                      </c:pt>
                      <c:pt idx="82">
                        <c:v>90.5</c:v>
                      </c:pt>
                      <c:pt idx="83">
                        <c:v>90.4</c:v>
                      </c:pt>
                      <c:pt idx="84">
                        <c:v>90.9</c:v>
                      </c:pt>
                      <c:pt idx="85">
                        <c:v>91</c:v>
                      </c:pt>
                      <c:pt idx="86">
                        <c:v>91.1</c:v>
                      </c:pt>
                      <c:pt idx="87">
                        <c:v>91</c:v>
                      </c:pt>
                      <c:pt idx="88">
                        <c:v>91.3</c:v>
                      </c:pt>
                      <c:pt idx="89">
                        <c:v>91.4</c:v>
                      </c:pt>
                      <c:pt idx="90">
                        <c:v>91.4</c:v>
                      </c:pt>
                      <c:pt idx="91">
                        <c:v>91.4</c:v>
                      </c:pt>
                      <c:pt idx="92">
                        <c:v>91.2</c:v>
                      </c:pt>
                      <c:pt idx="93">
                        <c:v>91.6</c:v>
                      </c:pt>
                      <c:pt idx="94">
                        <c:v>91.6</c:v>
                      </c:pt>
                      <c:pt idx="95">
                        <c:v>91.3</c:v>
                      </c:pt>
                      <c:pt idx="96">
                        <c:v>91.5</c:v>
                      </c:pt>
                      <c:pt idx="97">
                        <c:v>91.6</c:v>
                      </c:pt>
                      <c:pt idx="98">
                        <c:v>92</c:v>
                      </c:pt>
                      <c:pt idx="99">
                        <c:v>92.5</c:v>
                      </c:pt>
                      <c:pt idx="100">
                        <c:v>92.7</c:v>
                      </c:pt>
                      <c:pt idx="101">
                        <c:v>92.9</c:v>
                      </c:pt>
                      <c:pt idx="102">
                        <c:v>93.1</c:v>
                      </c:pt>
                      <c:pt idx="103">
                        <c:v>93.3</c:v>
                      </c:pt>
                      <c:pt idx="104">
                        <c:v>93.6</c:v>
                      </c:pt>
                      <c:pt idx="105">
                        <c:v>93.7</c:v>
                      </c:pt>
                      <c:pt idx="106">
                        <c:v>93.6</c:v>
                      </c:pt>
                      <c:pt idx="107">
                        <c:v>93.7</c:v>
                      </c:pt>
                      <c:pt idx="108">
                        <c:v>93.5</c:v>
                      </c:pt>
                      <c:pt idx="109">
                        <c:v>94.1</c:v>
                      </c:pt>
                      <c:pt idx="110">
                        <c:v>94.8</c:v>
                      </c:pt>
                      <c:pt idx="111">
                        <c:v>94.5</c:v>
                      </c:pt>
                      <c:pt idx="112">
                        <c:v>94.9</c:v>
                      </c:pt>
                      <c:pt idx="113">
                        <c:v>95.5</c:v>
                      </c:pt>
                      <c:pt idx="114">
                        <c:v>95.8</c:v>
                      </c:pt>
                      <c:pt idx="115">
                        <c:v>95.7</c:v>
                      </c:pt>
                      <c:pt idx="116">
                        <c:v>96.1</c:v>
                      </c:pt>
                      <c:pt idx="117">
                        <c:v>96.3</c:v>
                      </c:pt>
                      <c:pt idx="118">
                        <c:v>96.6</c:v>
                      </c:pt>
                      <c:pt idx="119">
                        <c:v>96.7</c:v>
                      </c:pt>
                      <c:pt idx="120">
                        <c:v>96.3</c:v>
                      </c:pt>
                      <c:pt idx="121">
                        <c:v>96.8</c:v>
                      </c:pt>
                      <c:pt idx="122">
                        <c:v>97.1</c:v>
                      </c:pt>
                      <c:pt idx="123">
                        <c:v>97.8</c:v>
                      </c:pt>
                      <c:pt idx="124">
                        <c:v>98.6</c:v>
                      </c:pt>
                      <c:pt idx="125">
                        <c:v>98.7</c:v>
                      </c:pt>
                      <c:pt idx="126">
                        <c:v>98.4</c:v>
                      </c:pt>
                      <c:pt idx="127">
                        <c:v>98.4</c:v>
                      </c:pt>
                      <c:pt idx="128">
                        <c:v>98.6</c:v>
                      </c:pt>
                      <c:pt idx="129">
                        <c:v>98.1</c:v>
                      </c:pt>
                      <c:pt idx="130">
                        <c:v>97.2</c:v>
                      </c:pt>
                      <c:pt idx="131">
                        <c:v>97.4</c:v>
                      </c:pt>
                      <c:pt idx="132">
                        <c:v>97.6</c:v>
                      </c:pt>
                      <c:pt idx="133">
                        <c:v>98.2</c:v>
                      </c:pt>
                      <c:pt idx="134">
                        <c:v>98.9</c:v>
                      </c:pt>
                      <c:pt idx="135">
                        <c:v>99.5</c:v>
                      </c:pt>
                      <c:pt idx="136">
                        <c:v>99.7</c:v>
                      </c:pt>
                      <c:pt idx="137">
                        <c:v>99.9</c:v>
                      </c:pt>
                      <c:pt idx="138">
                        <c:v>100.5</c:v>
                      </c:pt>
                      <c:pt idx="139">
                        <c:v>100.9</c:v>
                      </c:pt>
                      <c:pt idx="140">
                        <c:v>100.9</c:v>
                      </c:pt>
                      <c:pt idx="141">
                        <c:v>101.2</c:v>
                      </c:pt>
                      <c:pt idx="142">
                        <c:v>101.5</c:v>
                      </c:pt>
                      <c:pt idx="143">
                        <c:v>101.1</c:v>
                      </c:pt>
                      <c:pt idx="144">
                        <c:v>102</c:v>
                      </c:pt>
                      <c:pt idx="145">
                        <c:v>102.8</c:v>
                      </c:pt>
                      <c:pt idx="146">
                        <c:v>103.1</c:v>
                      </c:pt>
                      <c:pt idx="147">
                        <c:v>102.4</c:v>
                      </c:pt>
                      <c:pt idx="148">
                        <c:v>102.5</c:v>
                      </c:pt>
                      <c:pt idx="149">
                        <c:v>102.5</c:v>
                      </c:pt>
                      <c:pt idx="150">
                        <c:v>102.6</c:v>
                      </c:pt>
                      <c:pt idx="151">
                        <c:v>102.9</c:v>
                      </c:pt>
                      <c:pt idx="152">
                        <c:v>103.1</c:v>
                      </c:pt>
                      <c:pt idx="153">
                        <c:v>102.8</c:v>
                      </c:pt>
                      <c:pt idx="154">
                        <c:v>103.1</c:v>
                      </c:pt>
                      <c:pt idx="155">
                        <c:v>103.2</c:v>
                      </c:pt>
                      <c:pt idx="156">
                        <c:v>103.3</c:v>
                      </c:pt>
                      <c:pt idx="157">
                        <c:v>103.5</c:v>
                      </c:pt>
                      <c:pt idx="158">
                        <c:v>103.9</c:v>
                      </c:pt>
                      <c:pt idx="159">
                        <c:v>104.1</c:v>
                      </c:pt>
                      <c:pt idx="160">
                        <c:v>105</c:v>
                      </c:pt>
                      <c:pt idx="161">
                        <c:v>105.1</c:v>
                      </c:pt>
                      <c:pt idx="162">
                        <c:v>105</c:v>
                      </c:pt>
                      <c:pt idx="163">
                        <c:v>104.8</c:v>
                      </c:pt>
                      <c:pt idx="164">
                        <c:v>105</c:v>
                      </c:pt>
                      <c:pt idx="165">
                        <c:v>105.2</c:v>
                      </c:pt>
                      <c:pt idx="166">
                        <c:v>105.6</c:v>
                      </c:pt>
                      <c:pt idx="167">
                        <c:v>105.4</c:v>
                      </c:pt>
                      <c:pt idx="168">
                        <c:v>105.3</c:v>
                      </c:pt>
                      <c:pt idx="169">
                        <c:v>105.7</c:v>
                      </c:pt>
                      <c:pt idx="170">
                        <c:v>106.3</c:v>
                      </c:pt>
                      <c:pt idx="171">
                        <c:v>106.6</c:v>
                      </c:pt>
                      <c:pt idx="172">
                        <c:v>106.7</c:v>
                      </c:pt>
                      <c:pt idx="173">
                        <c:v>106.9</c:v>
                      </c:pt>
                      <c:pt idx="174">
                        <c:v>107.1</c:v>
                      </c:pt>
                      <c:pt idx="175">
                        <c:v>107.5</c:v>
                      </c:pt>
                      <c:pt idx="176">
                        <c:v>108.4</c:v>
                      </c:pt>
                      <c:pt idx="177">
                        <c:v>107.9</c:v>
                      </c:pt>
                      <c:pt idx="178">
                        <c:v>107.7</c:v>
                      </c:pt>
                      <c:pt idx="179">
                        <c:v>107.6</c:v>
                      </c:pt>
                      <c:pt idx="180">
                        <c:v>108.2</c:v>
                      </c:pt>
                      <c:pt idx="181">
                        <c:v>108</c:v>
                      </c:pt>
                      <c:pt idx="182">
                        <c:v>108.6</c:v>
                      </c:pt>
                      <c:pt idx="183">
                        <c:v>109.2</c:v>
                      </c:pt>
                      <c:pt idx="184">
                        <c:v>109.7</c:v>
                      </c:pt>
                      <c:pt idx="185">
                        <c:v>109.5</c:v>
                      </c:pt>
                      <c:pt idx="186">
                        <c:v>109.6</c:v>
                      </c:pt>
                      <c:pt idx="187">
                        <c:v>109.8</c:v>
                      </c:pt>
                      <c:pt idx="188">
                        <c:v>109.2</c:v>
                      </c:pt>
                      <c:pt idx="189">
                        <c:v>109</c:v>
                      </c:pt>
                      <c:pt idx="190">
                        <c:v>109.2</c:v>
                      </c:pt>
                      <c:pt idx="191">
                        <c:v>109.4</c:v>
                      </c:pt>
                      <c:pt idx="192">
                        <c:v>109.4</c:v>
                      </c:pt>
                      <c:pt idx="193">
                        <c:v>110.2</c:v>
                      </c:pt>
                      <c:pt idx="194">
                        <c:v>111.1</c:v>
                      </c:pt>
                      <c:pt idx="195">
                        <c:v>111.6</c:v>
                      </c:pt>
                      <c:pt idx="196">
                        <c:v>112.1</c:v>
                      </c:pt>
                      <c:pt idx="197">
                        <c:v>111.9</c:v>
                      </c:pt>
                      <c:pt idx="198">
                        <c:v>112</c:v>
                      </c:pt>
                      <c:pt idx="199">
                        <c:v>111.7</c:v>
                      </c:pt>
                      <c:pt idx="200">
                        <c:v>111.9</c:v>
                      </c:pt>
                      <c:pt idx="201">
                        <c:v>111.6</c:v>
                      </c:pt>
                      <c:pt idx="202">
                        <c:v>111.9</c:v>
                      </c:pt>
                      <c:pt idx="203">
                        <c:v>112</c:v>
                      </c:pt>
                      <c:pt idx="204">
                        <c:v>111.8</c:v>
                      </c:pt>
                      <c:pt idx="205">
                        <c:v>112.2</c:v>
                      </c:pt>
                      <c:pt idx="206">
                        <c:v>112.6</c:v>
                      </c:pt>
                      <c:pt idx="207">
                        <c:v>113.5</c:v>
                      </c:pt>
                      <c:pt idx="208">
                        <c:v>114.6</c:v>
                      </c:pt>
                      <c:pt idx="209">
                        <c:v>115.4</c:v>
                      </c:pt>
                      <c:pt idx="210">
                        <c:v>115.8</c:v>
                      </c:pt>
                      <c:pt idx="211">
                        <c:v>115.6</c:v>
                      </c:pt>
                      <c:pt idx="212">
                        <c:v>115.7</c:v>
                      </c:pt>
                      <c:pt idx="213">
                        <c:v>114.5</c:v>
                      </c:pt>
                      <c:pt idx="214">
                        <c:v>114.1</c:v>
                      </c:pt>
                      <c:pt idx="215">
                        <c:v>113.3</c:v>
                      </c:pt>
                      <c:pt idx="216">
                        <c:v>113</c:v>
                      </c:pt>
                      <c:pt idx="217">
                        <c:v>113.8</c:v>
                      </c:pt>
                      <c:pt idx="218">
                        <c:v>114</c:v>
                      </c:pt>
                      <c:pt idx="219">
                        <c:v>113.9</c:v>
                      </c:pt>
                      <c:pt idx="220">
                        <c:v>114.7</c:v>
                      </c:pt>
                      <c:pt idx="221">
                        <c:v>115.1</c:v>
                      </c:pt>
                      <c:pt idx="222">
                        <c:v>114.7</c:v>
                      </c:pt>
                      <c:pt idx="223">
                        <c:v>114.7</c:v>
                      </c:pt>
                      <c:pt idx="224">
                        <c:v>114.7</c:v>
                      </c:pt>
                      <c:pt idx="225">
                        <c:v>114.6</c:v>
                      </c:pt>
                      <c:pt idx="226">
                        <c:v>115.2</c:v>
                      </c:pt>
                      <c:pt idx="227">
                        <c:v>114.8</c:v>
                      </c:pt>
                      <c:pt idx="228">
                        <c:v>115.1</c:v>
                      </c:pt>
                      <c:pt idx="229">
                        <c:v>115.6</c:v>
                      </c:pt>
                      <c:pt idx="230">
                        <c:v>115.6</c:v>
                      </c:pt>
                      <c:pt idx="231">
                        <c:v>116</c:v>
                      </c:pt>
                      <c:pt idx="232">
                        <c:v>116.3</c:v>
                      </c:pt>
                      <c:pt idx="233">
                        <c:v>116.2</c:v>
                      </c:pt>
                      <c:pt idx="234">
                        <c:v>116.8</c:v>
                      </c:pt>
                      <c:pt idx="235">
                        <c:v>116.7</c:v>
                      </c:pt>
                      <c:pt idx="236">
                        <c:v>116.9</c:v>
                      </c:pt>
                      <c:pt idx="237">
                        <c:v>117.4</c:v>
                      </c:pt>
                      <c:pt idx="238">
                        <c:v>117.5</c:v>
                      </c:pt>
                      <c:pt idx="239">
                        <c:v>117.5</c:v>
                      </c:pt>
                      <c:pt idx="240">
                        <c:v>117.8</c:v>
                      </c:pt>
                      <c:pt idx="241">
                        <c:v>118.1</c:v>
                      </c:pt>
                      <c:pt idx="242">
                        <c:v>119.4</c:v>
                      </c:pt>
                      <c:pt idx="243">
                        <c:v>119.8</c:v>
                      </c:pt>
                      <c:pt idx="244">
                        <c:v>120.6</c:v>
                      </c:pt>
                      <c:pt idx="245">
                        <c:v>119.8</c:v>
                      </c:pt>
                      <c:pt idx="246">
                        <c:v>120</c:v>
                      </c:pt>
                      <c:pt idx="247">
                        <c:v>120.3</c:v>
                      </c:pt>
                      <c:pt idx="248">
                        <c:v>120.6</c:v>
                      </c:pt>
                      <c:pt idx="249">
                        <c:v>120.8</c:v>
                      </c:pt>
                      <c:pt idx="250">
                        <c:v>120.9</c:v>
                      </c:pt>
                      <c:pt idx="251">
                        <c:v>120.2</c:v>
                      </c:pt>
                      <c:pt idx="252">
                        <c:v>120.7</c:v>
                      </c:pt>
                      <c:pt idx="253">
                        <c:v>121.2</c:v>
                      </c:pt>
                      <c:pt idx="254">
                        <c:v>121.7</c:v>
                      </c:pt>
                      <c:pt idx="255">
                        <c:v>122.2</c:v>
                      </c:pt>
                      <c:pt idx="256">
                        <c:v>122.1</c:v>
                      </c:pt>
                      <c:pt idx="257">
                        <c:v>121.6</c:v>
                      </c:pt>
                      <c:pt idx="258">
                        <c:v>121.5</c:v>
                      </c:pt>
                      <c:pt idx="259">
                        <c:v>121.8</c:v>
                      </c:pt>
                      <c:pt idx="260">
                        <c:v>122</c:v>
                      </c:pt>
                      <c:pt idx="261">
                        <c:v>122.2</c:v>
                      </c:pt>
                      <c:pt idx="262">
                        <c:v>121.9</c:v>
                      </c:pt>
                      <c:pt idx="263">
                        <c:v>121.2</c:v>
                      </c:pt>
                      <c:pt idx="264">
                        <c:v>121.3</c:v>
                      </c:pt>
                      <c:pt idx="265">
                        <c:v>122.7</c:v>
                      </c:pt>
                      <c:pt idx="266">
                        <c:v>122.9</c:v>
                      </c:pt>
                      <c:pt idx="267">
                        <c:v>122.7</c:v>
                      </c:pt>
                      <c:pt idx="268">
                        <c:v>123</c:v>
                      </c:pt>
                      <c:pt idx="269">
                        <c:v>123</c:v>
                      </c:pt>
                      <c:pt idx="270">
                        <c:v>123.1</c:v>
                      </c:pt>
                      <c:pt idx="271">
                        <c:v>123.1</c:v>
                      </c:pt>
                      <c:pt idx="272">
                        <c:v>123.3</c:v>
                      </c:pt>
                      <c:pt idx="273">
                        <c:v>123</c:v>
                      </c:pt>
                      <c:pt idx="274">
                        <c:v>123</c:v>
                      </c:pt>
                      <c:pt idx="275">
                        <c:v>122.7</c:v>
                      </c:pt>
                      <c:pt idx="276">
                        <c:v>123.1</c:v>
                      </c:pt>
                      <c:pt idx="277">
                        <c:v>124.1</c:v>
                      </c:pt>
                      <c:pt idx="278">
                        <c:v>124.8</c:v>
                      </c:pt>
                      <c:pt idx="279">
                        <c:v>125.2</c:v>
                      </c:pt>
                      <c:pt idx="280">
                        <c:v>125.8</c:v>
                      </c:pt>
                      <c:pt idx="281">
                        <c:v>125.9</c:v>
                      </c:pt>
                      <c:pt idx="282">
                        <c:v>125.7</c:v>
                      </c:pt>
                      <c:pt idx="283">
                        <c:v>125.7</c:v>
                      </c:pt>
                      <c:pt idx="284">
                        <c:v>125.8</c:v>
                      </c:pt>
                      <c:pt idx="285">
                        <c:v>125.9</c:v>
                      </c:pt>
                      <c:pt idx="286">
                        <c:v>125.4</c:v>
                      </c:pt>
                      <c:pt idx="287">
                        <c:v>124.5</c:v>
                      </c:pt>
                      <c:pt idx="288">
                        <c:v>124.3</c:v>
                      </c:pt>
                      <c:pt idx="289">
                        <c:v>125.4</c:v>
                      </c:pt>
                      <c:pt idx="290">
                        <c:v>126.3</c:v>
                      </c:pt>
                      <c:pt idx="291">
                        <c:v>126.2</c:v>
                      </c:pt>
                      <c:pt idx="292">
                        <c:v>126.9</c:v>
                      </c:pt>
                      <c:pt idx="293">
                        <c:v>127.2</c:v>
                      </c:pt>
                      <c:pt idx="294">
                        <c:v>127.3</c:v>
                      </c:pt>
                      <c:pt idx="295">
                        <c:v>127.3</c:v>
                      </c:pt>
                      <c:pt idx="296">
                        <c:v>127.1</c:v>
                      </c:pt>
                      <c:pt idx="297">
                        <c:v>127.2</c:v>
                      </c:pt>
                      <c:pt idx="298">
                        <c:v>127.1</c:v>
                      </c:pt>
                      <c:pt idx="299">
                        <c:v>126.5</c:v>
                      </c:pt>
                      <c:pt idx="300">
                        <c:v>126.8</c:v>
                      </c:pt>
                      <c:pt idx="301">
                        <c:v>127.1</c:v>
                      </c:pt>
                      <c:pt idx="302">
                        <c:v>127.9</c:v>
                      </c:pt>
                      <c:pt idx="303">
                        <c:v>128.30000000000001</c:v>
                      </c:pt>
                      <c:pt idx="304">
                        <c:v>128.80000000000001</c:v>
                      </c:pt>
                      <c:pt idx="305">
                        <c:v>129.1</c:v>
                      </c:pt>
                      <c:pt idx="306">
                        <c:v>128.9</c:v>
                      </c:pt>
                      <c:pt idx="307">
                        <c:v>128.69999999999999</c:v>
                      </c:pt>
                      <c:pt idx="308">
                        <c:v>128.80000000000001</c:v>
                      </c:pt>
                      <c:pt idx="309">
                        <c:v>129.1</c:v>
                      </c:pt>
                      <c:pt idx="310">
                        <c:v>128.6</c:v>
                      </c:pt>
                      <c:pt idx="311">
                        <c:v>128.4</c:v>
                      </c:pt>
                      <c:pt idx="312">
                        <c:v>129.5</c:v>
                      </c:pt>
                      <c:pt idx="313">
                        <c:v>129.69999999999999</c:v>
                      </c:pt>
                      <c:pt idx="314">
                        <c:v>129.9</c:v>
                      </c:pt>
                      <c:pt idx="315">
                        <c:v>130.4</c:v>
                      </c:pt>
                      <c:pt idx="316">
                        <c:v>130.5</c:v>
                      </c:pt>
                      <c:pt idx="317">
                        <c:v>130.4</c:v>
                      </c:pt>
                      <c:pt idx="318">
                        <c:v>130.4</c:v>
                      </c:pt>
                      <c:pt idx="319">
                        <c:v>130.5</c:v>
                      </c:pt>
                      <c:pt idx="320">
                        <c:v>130.80000000000001</c:v>
                      </c:pt>
                      <c:pt idx="321">
                        <c:v>130.9</c:v>
                      </c:pt>
                      <c:pt idx="322">
                        <c:v>131.30000000000001</c:v>
                      </c:pt>
                      <c:pt idx="323">
                        <c:v>130.80000000000001</c:v>
                      </c:pt>
                      <c:pt idx="324">
                        <c:v>131.69999999999999</c:v>
                      </c:pt>
                      <c:pt idx="325">
                        <c:v>132.5</c:v>
                      </c:pt>
                      <c:pt idx="326">
                        <c:v>132.9</c:v>
                      </c:pt>
                      <c:pt idx="327">
                        <c:v>133.30000000000001</c:v>
                      </c:pt>
                      <c:pt idx="328">
                        <c:v>133.4</c:v>
                      </c:pt>
                      <c:pt idx="329">
                        <c:v>133.6</c:v>
                      </c:pt>
                      <c:pt idx="330">
                        <c:v>134.30000000000001</c:v>
                      </c:pt>
                      <c:pt idx="331">
                        <c:v>134.19999999999999</c:v>
                      </c:pt>
                      <c:pt idx="332">
                        <c:v>133.69999999999999</c:v>
                      </c:pt>
                      <c:pt idx="333">
                        <c:v>134.1</c:v>
                      </c:pt>
                      <c:pt idx="334">
                        <c:v>133.5</c:v>
                      </c:pt>
                      <c:pt idx="335">
                        <c:v>133.4</c:v>
                      </c:pt>
                      <c:pt idx="336">
                        <c:v>133.6</c:v>
                      </c:pt>
                      <c:pt idx="337">
                        <c:v>134.5</c:v>
                      </c:pt>
                      <c:pt idx="338">
                        <c:v>135.4</c:v>
                      </c:pt>
                      <c:pt idx="339">
                        <c:v>136</c:v>
                      </c:pt>
                      <c:pt idx="340">
                        <c:v>136.6</c:v>
                      </c:pt>
                      <c:pt idx="341">
                        <c:v>136.30000000000001</c:v>
                      </c:pt>
                      <c:pt idx="342">
                        <c:v>137</c:v>
                      </c:pt>
                      <c:pt idx="343">
                        <c:v>136.80000000000001</c:v>
                      </c:pt>
                      <c:pt idx="344">
                        <c:v>136.19999999999999</c:v>
                      </c:pt>
                      <c:pt idx="345">
                        <c:v>136.6</c:v>
                      </c:pt>
                      <c:pt idx="346">
                        <c:v>136.4</c:v>
                      </c:pt>
                      <c:pt idx="347">
                        <c:v>136.4</c:v>
                      </c:pt>
                      <c:pt idx="348">
                        <c:v>136.80000000000001</c:v>
                      </c:pt>
                      <c:pt idx="349">
                        <c:v>137.4</c:v>
                      </c:pt>
                      <c:pt idx="350">
                        <c:v>136.6</c:v>
                      </c:pt>
                      <c:pt idx="351">
                        <c:v>135.69999999999999</c:v>
                      </c:pt>
                      <c:pt idx="352">
                        <c:v>136.1</c:v>
                      </c:pt>
                      <c:pt idx="353">
                        <c:v>137.19999999999999</c:v>
                      </c:pt>
                      <c:pt idx="354">
                        <c:v>137.19999999999999</c:v>
                      </c:pt>
                      <c:pt idx="355">
                        <c:v>137</c:v>
                      </c:pt>
                      <c:pt idx="356">
                        <c:v>136.9</c:v>
                      </c:pt>
                      <c:pt idx="357">
                        <c:v>137.5</c:v>
                      </c:pt>
                      <c:pt idx="358">
                        <c:v>137.69999999999999</c:v>
                      </c:pt>
                      <c:pt idx="359">
                        <c:v>137.4</c:v>
                      </c:pt>
                      <c:pt idx="360">
                        <c:v>138.19999999999999</c:v>
                      </c:pt>
                      <c:pt idx="361">
                        <c:v>138.9</c:v>
                      </c:pt>
                      <c:pt idx="362">
                        <c:v>139.6</c:v>
                      </c:pt>
                      <c:pt idx="363">
                        <c:v>140.30000000000001</c:v>
                      </c:pt>
                      <c:pt idx="364">
                        <c:v>141</c:v>
                      </c:pt>
                      <c:pt idx="365">
                        <c:v>141.4</c:v>
                      </c:pt>
                      <c:pt idx="366">
                        <c:v>142.30000000000001</c:v>
                      </c:pt>
                      <c:pt idx="367">
                        <c:v>142.6</c:v>
                      </c:pt>
                      <c:pt idx="368">
                        <c:v>142.9</c:v>
                      </c:pt>
                      <c:pt idx="369">
                        <c:v>143.9</c:v>
                      </c:pt>
                      <c:pt idx="370">
                        <c:v>144.19999999999999</c:v>
                      </c:pt>
                      <c:pt idx="371">
                        <c:v>144</c:v>
                      </c:pt>
                      <c:pt idx="372">
                        <c:v>145.30000000000001</c:v>
                      </c:pt>
                      <c:pt idx="373">
                        <c:v>146.80000000000001</c:v>
                      </c:pt>
                      <c:pt idx="374">
                        <c:v>148.9</c:v>
                      </c:pt>
                      <c:pt idx="375">
                        <c:v>149.80000000000001</c:v>
                      </c:pt>
                      <c:pt idx="376">
                        <c:v>151.9</c:v>
                      </c:pt>
                      <c:pt idx="377">
                        <c:v>152.9</c:v>
                      </c:pt>
                      <c:pt idx="378">
                        <c:v>153.1</c:v>
                      </c:pt>
                      <c:pt idx="379">
                        <c:v>152.6</c:v>
                      </c:pt>
                      <c:pt idx="380">
                        <c:v>152.69999999999999</c:v>
                      </c:pt>
                      <c:pt idx="381">
                        <c:v>153.80000000000001</c:v>
                      </c:pt>
                      <c:pt idx="382">
                        <c:v>154</c:v>
                      </c:pt>
                      <c:pt idx="383">
                        <c:v>153.1</c:v>
                      </c:pt>
                      <c:pt idx="384">
                        <c:v>153.9</c:v>
                      </c:pt>
                      <c:pt idx="385">
                        <c:v>154.5</c:v>
                      </c:pt>
                      <c:pt idx="386">
                        <c:v>155.30000000000001</c:v>
                      </c:pt>
                      <c:pt idx="387">
                        <c:v>156.4</c:v>
                      </c:pt>
                      <c:pt idx="388">
                        <c:v>157</c:v>
                      </c:pt>
                      <c:pt idx="389">
                        <c:v>157.19999999999999</c:v>
                      </c:pt>
                      <c:pt idx="390">
                        <c:v>158.1</c:v>
                      </c:pt>
                      <c:pt idx="391">
                        <c:v>158.69999999999999</c:v>
                      </c:pt>
                      <c:pt idx="392">
                        <c:v>158.5</c:v>
                      </c:pt>
                      <c:pt idx="393">
                        <c:v>158.6</c:v>
                      </c:pt>
                      <c:pt idx="394">
                        <c:v>158.80000000000001</c:v>
                      </c:pt>
                      <c:pt idx="395">
                        <c:v>158.30000000000001</c:v>
                      </c:pt>
                      <c:pt idx="396">
                        <c:v>158.30000000000001</c:v>
                      </c:pt>
                    </c:numCache>
                  </c:numRef>
                </c:val>
                <c:extLst>
                  <c:ext xmlns:c16="http://schemas.microsoft.com/office/drawing/2014/chart" uri="{C3380CC4-5D6E-409C-BE32-E72D297353CC}">
                    <c16:uniqueId val="{00000007-3298-4AFE-9546-33D707467B25}"/>
                  </c:ext>
                </c:extLst>
              </c15:ser>
            </c15:filteredBarSeries>
          </c:ext>
        </c:extLst>
      </c:barChart>
      <c:lineChart>
        <c:grouping val="standard"/>
        <c:varyColors val="0"/>
        <c:ser>
          <c:idx val="2"/>
          <c:order val="2"/>
          <c:tx>
            <c:strRef>
              <c:f>Sheet15!$D$2</c:f>
              <c:strCache>
                <c:ptCount val="1"/>
                <c:pt idx="0">
                  <c:v>Cash</c:v>
                </c:pt>
              </c:strCache>
            </c:strRef>
          </c:tx>
          <c:spPr>
            <a:ln w="28575" cap="rnd">
              <a:solidFill>
                <a:schemeClr val="accent6"/>
              </a:solidFill>
              <a:prstDash val="sysDot"/>
              <a:round/>
            </a:ln>
            <a:effectLst/>
          </c:spPr>
          <c:marker>
            <c:symbol val="none"/>
          </c:marker>
          <c:dLbls>
            <c:dLbl>
              <c:idx val="207"/>
              <c:layout>
                <c:manualLayout>
                  <c:x val="-4.1960197321764654E-2"/>
                  <c:y val="-2.71349930030242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98-4AFE-9546-33D707467B2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5!$A$3:$A$495</c:f>
              <c:numCache>
                <c:formatCode>mmm\-yy</c:formatCode>
                <c:ptCount val="397"/>
                <c:pt idx="0">
                  <c:v>33239</c:v>
                </c:pt>
                <c:pt idx="1">
                  <c:v>33270</c:v>
                </c:pt>
                <c:pt idx="2">
                  <c:v>33298</c:v>
                </c:pt>
                <c:pt idx="3">
                  <c:v>33329</c:v>
                </c:pt>
                <c:pt idx="4">
                  <c:v>33359</c:v>
                </c:pt>
                <c:pt idx="5">
                  <c:v>33390</c:v>
                </c:pt>
                <c:pt idx="6">
                  <c:v>33420</c:v>
                </c:pt>
                <c:pt idx="7">
                  <c:v>33451</c:v>
                </c:pt>
                <c:pt idx="8">
                  <c:v>33482</c:v>
                </c:pt>
                <c:pt idx="9">
                  <c:v>33512</c:v>
                </c:pt>
                <c:pt idx="10">
                  <c:v>33543</c:v>
                </c:pt>
                <c:pt idx="11">
                  <c:v>33573</c:v>
                </c:pt>
                <c:pt idx="12">
                  <c:v>33604</c:v>
                </c:pt>
                <c:pt idx="13">
                  <c:v>33635</c:v>
                </c:pt>
                <c:pt idx="14">
                  <c:v>33664</c:v>
                </c:pt>
                <c:pt idx="15">
                  <c:v>33695</c:v>
                </c:pt>
                <c:pt idx="16">
                  <c:v>33725</c:v>
                </c:pt>
                <c:pt idx="17">
                  <c:v>33756</c:v>
                </c:pt>
                <c:pt idx="18">
                  <c:v>33786</c:v>
                </c:pt>
                <c:pt idx="19">
                  <c:v>33817</c:v>
                </c:pt>
                <c:pt idx="20">
                  <c:v>33848</c:v>
                </c:pt>
                <c:pt idx="21">
                  <c:v>33878</c:v>
                </c:pt>
                <c:pt idx="22">
                  <c:v>33909</c:v>
                </c:pt>
                <c:pt idx="23">
                  <c:v>33939</c:v>
                </c:pt>
                <c:pt idx="24">
                  <c:v>33970</c:v>
                </c:pt>
                <c:pt idx="25">
                  <c:v>34001</c:v>
                </c:pt>
                <c:pt idx="26">
                  <c:v>34029</c:v>
                </c:pt>
                <c:pt idx="27">
                  <c:v>34060</c:v>
                </c:pt>
                <c:pt idx="28">
                  <c:v>34090</c:v>
                </c:pt>
                <c:pt idx="29">
                  <c:v>34121</c:v>
                </c:pt>
                <c:pt idx="30">
                  <c:v>34151</c:v>
                </c:pt>
                <c:pt idx="31">
                  <c:v>34182</c:v>
                </c:pt>
                <c:pt idx="32">
                  <c:v>34213</c:v>
                </c:pt>
                <c:pt idx="33">
                  <c:v>34243</c:v>
                </c:pt>
                <c:pt idx="34">
                  <c:v>34274</c:v>
                </c:pt>
                <c:pt idx="35">
                  <c:v>34304</c:v>
                </c:pt>
                <c:pt idx="36">
                  <c:v>34335</c:v>
                </c:pt>
                <c:pt idx="37">
                  <c:v>34366</c:v>
                </c:pt>
                <c:pt idx="38">
                  <c:v>34394</c:v>
                </c:pt>
                <c:pt idx="39">
                  <c:v>34425</c:v>
                </c:pt>
                <c:pt idx="40">
                  <c:v>34455</c:v>
                </c:pt>
                <c:pt idx="41">
                  <c:v>34486</c:v>
                </c:pt>
                <c:pt idx="42">
                  <c:v>34516</c:v>
                </c:pt>
                <c:pt idx="43">
                  <c:v>34547</c:v>
                </c:pt>
                <c:pt idx="44">
                  <c:v>34578</c:v>
                </c:pt>
                <c:pt idx="45">
                  <c:v>34608</c:v>
                </c:pt>
                <c:pt idx="46">
                  <c:v>34639</c:v>
                </c:pt>
                <c:pt idx="47">
                  <c:v>34669</c:v>
                </c:pt>
                <c:pt idx="48">
                  <c:v>34700</c:v>
                </c:pt>
                <c:pt idx="49">
                  <c:v>34731</c:v>
                </c:pt>
                <c:pt idx="50">
                  <c:v>34759</c:v>
                </c:pt>
                <c:pt idx="51">
                  <c:v>34790</c:v>
                </c:pt>
                <c:pt idx="52">
                  <c:v>34820</c:v>
                </c:pt>
                <c:pt idx="53">
                  <c:v>34851</c:v>
                </c:pt>
                <c:pt idx="54">
                  <c:v>34881</c:v>
                </c:pt>
                <c:pt idx="55">
                  <c:v>34912</c:v>
                </c:pt>
                <c:pt idx="56">
                  <c:v>34943</c:v>
                </c:pt>
                <c:pt idx="57">
                  <c:v>34973</c:v>
                </c:pt>
                <c:pt idx="58">
                  <c:v>35004</c:v>
                </c:pt>
                <c:pt idx="59">
                  <c:v>35034</c:v>
                </c:pt>
                <c:pt idx="60">
                  <c:v>35065</c:v>
                </c:pt>
                <c:pt idx="61">
                  <c:v>35096</c:v>
                </c:pt>
                <c:pt idx="62">
                  <c:v>35125</c:v>
                </c:pt>
                <c:pt idx="63">
                  <c:v>35156</c:v>
                </c:pt>
                <c:pt idx="64">
                  <c:v>35186</c:v>
                </c:pt>
                <c:pt idx="65">
                  <c:v>35217</c:v>
                </c:pt>
                <c:pt idx="66">
                  <c:v>35247</c:v>
                </c:pt>
                <c:pt idx="67">
                  <c:v>35278</c:v>
                </c:pt>
                <c:pt idx="68">
                  <c:v>35309</c:v>
                </c:pt>
                <c:pt idx="69">
                  <c:v>35339</c:v>
                </c:pt>
                <c:pt idx="70">
                  <c:v>35370</c:v>
                </c:pt>
                <c:pt idx="71">
                  <c:v>35400</c:v>
                </c:pt>
                <c:pt idx="72">
                  <c:v>35431</c:v>
                </c:pt>
                <c:pt idx="73">
                  <c:v>35462</c:v>
                </c:pt>
                <c:pt idx="74">
                  <c:v>35490</c:v>
                </c:pt>
                <c:pt idx="75">
                  <c:v>35521</c:v>
                </c:pt>
                <c:pt idx="76">
                  <c:v>35551</c:v>
                </c:pt>
                <c:pt idx="77">
                  <c:v>35582</c:v>
                </c:pt>
                <c:pt idx="78">
                  <c:v>35612</c:v>
                </c:pt>
                <c:pt idx="79">
                  <c:v>35643</c:v>
                </c:pt>
                <c:pt idx="80">
                  <c:v>35674</c:v>
                </c:pt>
                <c:pt idx="81">
                  <c:v>35704</c:v>
                </c:pt>
                <c:pt idx="82">
                  <c:v>35735</c:v>
                </c:pt>
                <c:pt idx="83">
                  <c:v>35765</c:v>
                </c:pt>
                <c:pt idx="84">
                  <c:v>35796</c:v>
                </c:pt>
                <c:pt idx="85">
                  <c:v>35827</c:v>
                </c:pt>
                <c:pt idx="86">
                  <c:v>35855</c:v>
                </c:pt>
                <c:pt idx="87">
                  <c:v>35886</c:v>
                </c:pt>
                <c:pt idx="88">
                  <c:v>35916</c:v>
                </c:pt>
                <c:pt idx="89">
                  <c:v>35947</c:v>
                </c:pt>
                <c:pt idx="90">
                  <c:v>35977</c:v>
                </c:pt>
                <c:pt idx="91">
                  <c:v>36008</c:v>
                </c:pt>
                <c:pt idx="92">
                  <c:v>36039</c:v>
                </c:pt>
                <c:pt idx="93">
                  <c:v>36069</c:v>
                </c:pt>
                <c:pt idx="94">
                  <c:v>36100</c:v>
                </c:pt>
                <c:pt idx="95">
                  <c:v>36130</c:v>
                </c:pt>
                <c:pt idx="96">
                  <c:v>36161</c:v>
                </c:pt>
                <c:pt idx="97">
                  <c:v>36192</c:v>
                </c:pt>
                <c:pt idx="98">
                  <c:v>36220</c:v>
                </c:pt>
                <c:pt idx="99">
                  <c:v>36251</c:v>
                </c:pt>
                <c:pt idx="100">
                  <c:v>36281</c:v>
                </c:pt>
                <c:pt idx="101">
                  <c:v>36312</c:v>
                </c:pt>
                <c:pt idx="102">
                  <c:v>36342</c:v>
                </c:pt>
                <c:pt idx="103">
                  <c:v>36373</c:v>
                </c:pt>
                <c:pt idx="104">
                  <c:v>36404</c:v>
                </c:pt>
                <c:pt idx="105">
                  <c:v>36434</c:v>
                </c:pt>
                <c:pt idx="106">
                  <c:v>36465</c:v>
                </c:pt>
                <c:pt idx="107">
                  <c:v>36495</c:v>
                </c:pt>
                <c:pt idx="108">
                  <c:v>36526</c:v>
                </c:pt>
                <c:pt idx="109">
                  <c:v>36557</c:v>
                </c:pt>
                <c:pt idx="110">
                  <c:v>36586</c:v>
                </c:pt>
                <c:pt idx="111">
                  <c:v>36617</c:v>
                </c:pt>
                <c:pt idx="112">
                  <c:v>36647</c:v>
                </c:pt>
                <c:pt idx="113">
                  <c:v>36678</c:v>
                </c:pt>
                <c:pt idx="114">
                  <c:v>36708</c:v>
                </c:pt>
                <c:pt idx="115">
                  <c:v>36739</c:v>
                </c:pt>
                <c:pt idx="116">
                  <c:v>36770</c:v>
                </c:pt>
                <c:pt idx="117">
                  <c:v>36800</c:v>
                </c:pt>
                <c:pt idx="118">
                  <c:v>36831</c:v>
                </c:pt>
                <c:pt idx="119">
                  <c:v>36861</c:v>
                </c:pt>
                <c:pt idx="120">
                  <c:v>36892</c:v>
                </c:pt>
                <c:pt idx="121">
                  <c:v>36923</c:v>
                </c:pt>
                <c:pt idx="122">
                  <c:v>36951</c:v>
                </c:pt>
                <c:pt idx="123">
                  <c:v>36982</c:v>
                </c:pt>
                <c:pt idx="124">
                  <c:v>37012</c:v>
                </c:pt>
                <c:pt idx="125">
                  <c:v>37043</c:v>
                </c:pt>
                <c:pt idx="126">
                  <c:v>37073</c:v>
                </c:pt>
                <c:pt idx="127">
                  <c:v>37104</c:v>
                </c:pt>
                <c:pt idx="128">
                  <c:v>37135</c:v>
                </c:pt>
                <c:pt idx="129">
                  <c:v>37165</c:v>
                </c:pt>
                <c:pt idx="130">
                  <c:v>37196</c:v>
                </c:pt>
                <c:pt idx="131">
                  <c:v>37226</c:v>
                </c:pt>
                <c:pt idx="132">
                  <c:v>37257</c:v>
                </c:pt>
                <c:pt idx="133">
                  <c:v>37288</c:v>
                </c:pt>
                <c:pt idx="134">
                  <c:v>37316</c:v>
                </c:pt>
                <c:pt idx="135">
                  <c:v>37347</c:v>
                </c:pt>
                <c:pt idx="136">
                  <c:v>37377</c:v>
                </c:pt>
                <c:pt idx="137">
                  <c:v>37408</c:v>
                </c:pt>
                <c:pt idx="138">
                  <c:v>37438</c:v>
                </c:pt>
                <c:pt idx="139">
                  <c:v>37469</c:v>
                </c:pt>
                <c:pt idx="140">
                  <c:v>37500</c:v>
                </c:pt>
                <c:pt idx="141">
                  <c:v>37530</c:v>
                </c:pt>
                <c:pt idx="142">
                  <c:v>37561</c:v>
                </c:pt>
                <c:pt idx="143">
                  <c:v>37591</c:v>
                </c:pt>
                <c:pt idx="144">
                  <c:v>37622</c:v>
                </c:pt>
                <c:pt idx="145">
                  <c:v>37653</c:v>
                </c:pt>
                <c:pt idx="146">
                  <c:v>37681</c:v>
                </c:pt>
                <c:pt idx="147">
                  <c:v>37712</c:v>
                </c:pt>
                <c:pt idx="148">
                  <c:v>37742</c:v>
                </c:pt>
                <c:pt idx="149">
                  <c:v>37773</c:v>
                </c:pt>
                <c:pt idx="150">
                  <c:v>37803</c:v>
                </c:pt>
                <c:pt idx="151">
                  <c:v>37834</c:v>
                </c:pt>
                <c:pt idx="152">
                  <c:v>37865</c:v>
                </c:pt>
                <c:pt idx="153">
                  <c:v>37895</c:v>
                </c:pt>
                <c:pt idx="154">
                  <c:v>37926</c:v>
                </c:pt>
                <c:pt idx="155">
                  <c:v>37956</c:v>
                </c:pt>
                <c:pt idx="156">
                  <c:v>37987</c:v>
                </c:pt>
                <c:pt idx="157">
                  <c:v>38018</c:v>
                </c:pt>
                <c:pt idx="158">
                  <c:v>38047</c:v>
                </c:pt>
                <c:pt idx="159">
                  <c:v>38078</c:v>
                </c:pt>
                <c:pt idx="160">
                  <c:v>38108</c:v>
                </c:pt>
                <c:pt idx="161">
                  <c:v>38139</c:v>
                </c:pt>
                <c:pt idx="162">
                  <c:v>38169</c:v>
                </c:pt>
                <c:pt idx="163">
                  <c:v>38200</c:v>
                </c:pt>
                <c:pt idx="164">
                  <c:v>38231</c:v>
                </c:pt>
                <c:pt idx="165">
                  <c:v>38261</c:v>
                </c:pt>
                <c:pt idx="166">
                  <c:v>38292</c:v>
                </c:pt>
                <c:pt idx="167">
                  <c:v>38322</c:v>
                </c:pt>
                <c:pt idx="168">
                  <c:v>38353</c:v>
                </c:pt>
                <c:pt idx="169">
                  <c:v>38384</c:v>
                </c:pt>
                <c:pt idx="170">
                  <c:v>38412</c:v>
                </c:pt>
                <c:pt idx="171">
                  <c:v>38443</c:v>
                </c:pt>
                <c:pt idx="172">
                  <c:v>38473</c:v>
                </c:pt>
                <c:pt idx="173">
                  <c:v>38504</c:v>
                </c:pt>
                <c:pt idx="174">
                  <c:v>38534</c:v>
                </c:pt>
                <c:pt idx="175">
                  <c:v>38565</c:v>
                </c:pt>
                <c:pt idx="176">
                  <c:v>38596</c:v>
                </c:pt>
                <c:pt idx="177">
                  <c:v>38626</c:v>
                </c:pt>
                <c:pt idx="178">
                  <c:v>38657</c:v>
                </c:pt>
                <c:pt idx="179">
                  <c:v>38687</c:v>
                </c:pt>
                <c:pt idx="180">
                  <c:v>38718</c:v>
                </c:pt>
                <c:pt idx="181">
                  <c:v>38749</c:v>
                </c:pt>
                <c:pt idx="182">
                  <c:v>38777</c:v>
                </c:pt>
                <c:pt idx="183">
                  <c:v>38808</c:v>
                </c:pt>
                <c:pt idx="184">
                  <c:v>38838</c:v>
                </c:pt>
                <c:pt idx="185">
                  <c:v>38869</c:v>
                </c:pt>
                <c:pt idx="186">
                  <c:v>38899</c:v>
                </c:pt>
                <c:pt idx="187">
                  <c:v>38930</c:v>
                </c:pt>
                <c:pt idx="188">
                  <c:v>38961</c:v>
                </c:pt>
                <c:pt idx="189">
                  <c:v>38991</c:v>
                </c:pt>
                <c:pt idx="190">
                  <c:v>39022</c:v>
                </c:pt>
                <c:pt idx="191">
                  <c:v>39052</c:v>
                </c:pt>
                <c:pt idx="192">
                  <c:v>39083</c:v>
                </c:pt>
                <c:pt idx="193">
                  <c:v>39114</c:v>
                </c:pt>
                <c:pt idx="194">
                  <c:v>39142</c:v>
                </c:pt>
                <c:pt idx="195">
                  <c:v>39173</c:v>
                </c:pt>
                <c:pt idx="196">
                  <c:v>39203</c:v>
                </c:pt>
                <c:pt idx="197">
                  <c:v>39234</c:v>
                </c:pt>
                <c:pt idx="198">
                  <c:v>39264</c:v>
                </c:pt>
                <c:pt idx="199">
                  <c:v>39295</c:v>
                </c:pt>
                <c:pt idx="200">
                  <c:v>39326</c:v>
                </c:pt>
                <c:pt idx="201">
                  <c:v>39356</c:v>
                </c:pt>
                <c:pt idx="202">
                  <c:v>39387</c:v>
                </c:pt>
                <c:pt idx="203">
                  <c:v>39417</c:v>
                </c:pt>
                <c:pt idx="204">
                  <c:v>39448</c:v>
                </c:pt>
                <c:pt idx="205">
                  <c:v>39479</c:v>
                </c:pt>
                <c:pt idx="206">
                  <c:v>39508</c:v>
                </c:pt>
                <c:pt idx="207">
                  <c:v>39539</c:v>
                </c:pt>
                <c:pt idx="208">
                  <c:v>39569</c:v>
                </c:pt>
                <c:pt idx="209">
                  <c:v>39600</c:v>
                </c:pt>
                <c:pt idx="210">
                  <c:v>39630</c:v>
                </c:pt>
                <c:pt idx="211">
                  <c:v>39661</c:v>
                </c:pt>
                <c:pt idx="212">
                  <c:v>39692</c:v>
                </c:pt>
                <c:pt idx="213">
                  <c:v>39722</c:v>
                </c:pt>
                <c:pt idx="214">
                  <c:v>39753</c:v>
                </c:pt>
                <c:pt idx="215">
                  <c:v>39783</c:v>
                </c:pt>
                <c:pt idx="216">
                  <c:v>39814</c:v>
                </c:pt>
                <c:pt idx="217">
                  <c:v>39845</c:v>
                </c:pt>
                <c:pt idx="218">
                  <c:v>39873</c:v>
                </c:pt>
                <c:pt idx="219">
                  <c:v>39904</c:v>
                </c:pt>
                <c:pt idx="220">
                  <c:v>39934</c:v>
                </c:pt>
                <c:pt idx="221">
                  <c:v>39965</c:v>
                </c:pt>
                <c:pt idx="222">
                  <c:v>39995</c:v>
                </c:pt>
                <c:pt idx="223">
                  <c:v>40026</c:v>
                </c:pt>
                <c:pt idx="224">
                  <c:v>40057</c:v>
                </c:pt>
                <c:pt idx="225">
                  <c:v>40087</c:v>
                </c:pt>
                <c:pt idx="226">
                  <c:v>40118</c:v>
                </c:pt>
                <c:pt idx="227">
                  <c:v>40148</c:v>
                </c:pt>
                <c:pt idx="228">
                  <c:v>40179</c:v>
                </c:pt>
                <c:pt idx="229">
                  <c:v>40210</c:v>
                </c:pt>
                <c:pt idx="230">
                  <c:v>40238</c:v>
                </c:pt>
                <c:pt idx="231">
                  <c:v>40269</c:v>
                </c:pt>
                <c:pt idx="232">
                  <c:v>40299</c:v>
                </c:pt>
                <c:pt idx="233">
                  <c:v>40330</c:v>
                </c:pt>
                <c:pt idx="234">
                  <c:v>40360</c:v>
                </c:pt>
                <c:pt idx="235">
                  <c:v>40391</c:v>
                </c:pt>
                <c:pt idx="236">
                  <c:v>40422</c:v>
                </c:pt>
                <c:pt idx="237">
                  <c:v>40452</c:v>
                </c:pt>
                <c:pt idx="238">
                  <c:v>40483</c:v>
                </c:pt>
                <c:pt idx="239">
                  <c:v>40513</c:v>
                </c:pt>
                <c:pt idx="240">
                  <c:v>40544</c:v>
                </c:pt>
                <c:pt idx="241">
                  <c:v>40575</c:v>
                </c:pt>
                <c:pt idx="242">
                  <c:v>40603</c:v>
                </c:pt>
                <c:pt idx="243">
                  <c:v>40634</c:v>
                </c:pt>
                <c:pt idx="244">
                  <c:v>40664</c:v>
                </c:pt>
                <c:pt idx="245">
                  <c:v>40695</c:v>
                </c:pt>
                <c:pt idx="246">
                  <c:v>40725</c:v>
                </c:pt>
                <c:pt idx="247">
                  <c:v>40756</c:v>
                </c:pt>
                <c:pt idx="248">
                  <c:v>40787</c:v>
                </c:pt>
                <c:pt idx="249">
                  <c:v>40817</c:v>
                </c:pt>
                <c:pt idx="250">
                  <c:v>40848</c:v>
                </c:pt>
                <c:pt idx="251">
                  <c:v>40878</c:v>
                </c:pt>
                <c:pt idx="252">
                  <c:v>40909</c:v>
                </c:pt>
                <c:pt idx="253">
                  <c:v>40940</c:v>
                </c:pt>
                <c:pt idx="254">
                  <c:v>40969</c:v>
                </c:pt>
                <c:pt idx="255">
                  <c:v>41000</c:v>
                </c:pt>
                <c:pt idx="256">
                  <c:v>41030</c:v>
                </c:pt>
                <c:pt idx="257">
                  <c:v>41061</c:v>
                </c:pt>
                <c:pt idx="258">
                  <c:v>41091</c:v>
                </c:pt>
                <c:pt idx="259">
                  <c:v>41122</c:v>
                </c:pt>
                <c:pt idx="260">
                  <c:v>41153</c:v>
                </c:pt>
                <c:pt idx="261">
                  <c:v>41183</c:v>
                </c:pt>
                <c:pt idx="262">
                  <c:v>41214</c:v>
                </c:pt>
                <c:pt idx="263">
                  <c:v>41244</c:v>
                </c:pt>
                <c:pt idx="264">
                  <c:v>41275</c:v>
                </c:pt>
                <c:pt idx="265">
                  <c:v>41306</c:v>
                </c:pt>
                <c:pt idx="266">
                  <c:v>41334</c:v>
                </c:pt>
                <c:pt idx="267">
                  <c:v>41365</c:v>
                </c:pt>
                <c:pt idx="268">
                  <c:v>41395</c:v>
                </c:pt>
                <c:pt idx="269">
                  <c:v>41426</c:v>
                </c:pt>
                <c:pt idx="270">
                  <c:v>41456</c:v>
                </c:pt>
                <c:pt idx="271">
                  <c:v>41487</c:v>
                </c:pt>
                <c:pt idx="272">
                  <c:v>41518</c:v>
                </c:pt>
                <c:pt idx="273">
                  <c:v>41548</c:v>
                </c:pt>
                <c:pt idx="274">
                  <c:v>41579</c:v>
                </c:pt>
                <c:pt idx="275">
                  <c:v>41609</c:v>
                </c:pt>
                <c:pt idx="276">
                  <c:v>41640</c:v>
                </c:pt>
                <c:pt idx="277">
                  <c:v>41671</c:v>
                </c:pt>
                <c:pt idx="278">
                  <c:v>41699</c:v>
                </c:pt>
                <c:pt idx="279">
                  <c:v>41730</c:v>
                </c:pt>
                <c:pt idx="280">
                  <c:v>41760</c:v>
                </c:pt>
                <c:pt idx="281">
                  <c:v>41791</c:v>
                </c:pt>
                <c:pt idx="282">
                  <c:v>41821</c:v>
                </c:pt>
                <c:pt idx="283">
                  <c:v>41852</c:v>
                </c:pt>
                <c:pt idx="284">
                  <c:v>41883</c:v>
                </c:pt>
                <c:pt idx="285">
                  <c:v>41913</c:v>
                </c:pt>
                <c:pt idx="286">
                  <c:v>41944</c:v>
                </c:pt>
                <c:pt idx="287">
                  <c:v>41974</c:v>
                </c:pt>
                <c:pt idx="288">
                  <c:v>42005</c:v>
                </c:pt>
                <c:pt idx="289">
                  <c:v>42036</c:v>
                </c:pt>
                <c:pt idx="290">
                  <c:v>42064</c:v>
                </c:pt>
                <c:pt idx="291">
                  <c:v>42095</c:v>
                </c:pt>
                <c:pt idx="292">
                  <c:v>42125</c:v>
                </c:pt>
                <c:pt idx="293">
                  <c:v>42156</c:v>
                </c:pt>
                <c:pt idx="294">
                  <c:v>42186</c:v>
                </c:pt>
                <c:pt idx="295">
                  <c:v>42217</c:v>
                </c:pt>
                <c:pt idx="296">
                  <c:v>42248</c:v>
                </c:pt>
                <c:pt idx="297">
                  <c:v>42278</c:v>
                </c:pt>
                <c:pt idx="298">
                  <c:v>42309</c:v>
                </c:pt>
                <c:pt idx="299">
                  <c:v>42339</c:v>
                </c:pt>
                <c:pt idx="300">
                  <c:v>42370</c:v>
                </c:pt>
                <c:pt idx="301">
                  <c:v>42401</c:v>
                </c:pt>
                <c:pt idx="302">
                  <c:v>42430</c:v>
                </c:pt>
                <c:pt idx="303">
                  <c:v>42461</c:v>
                </c:pt>
                <c:pt idx="304">
                  <c:v>42491</c:v>
                </c:pt>
                <c:pt idx="305">
                  <c:v>42522</c:v>
                </c:pt>
                <c:pt idx="306">
                  <c:v>42552</c:v>
                </c:pt>
                <c:pt idx="307">
                  <c:v>42583</c:v>
                </c:pt>
                <c:pt idx="308">
                  <c:v>42614</c:v>
                </c:pt>
                <c:pt idx="309">
                  <c:v>42644</c:v>
                </c:pt>
                <c:pt idx="310">
                  <c:v>42675</c:v>
                </c:pt>
                <c:pt idx="311">
                  <c:v>42705</c:v>
                </c:pt>
                <c:pt idx="312">
                  <c:v>42736</c:v>
                </c:pt>
                <c:pt idx="313">
                  <c:v>42767</c:v>
                </c:pt>
                <c:pt idx="314">
                  <c:v>42795</c:v>
                </c:pt>
                <c:pt idx="315">
                  <c:v>42826</c:v>
                </c:pt>
                <c:pt idx="316">
                  <c:v>42856</c:v>
                </c:pt>
                <c:pt idx="317">
                  <c:v>42887</c:v>
                </c:pt>
                <c:pt idx="318">
                  <c:v>42917</c:v>
                </c:pt>
                <c:pt idx="319">
                  <c:v>42948</c:v>
                </c:pt>
                <c:pt idx="320">
                  <c:v>42979</c:v>
                </c:pt>
                <c:pt idx="321">
                  <c:v>43009</c:v>
                </c:pt>
                <c:pt idx="322">
                  <c:v>43040</c:v>
                </c:pt>
                <c:pt idx="323">
                  <c:v>43070</c:v>
                </c:pt>
                <c:pt idx="324">
                  <c:v>43101</c:v>
                </c:pt>
                <c:pt idx="325">
                  <c:v>43132</c:v>
                </c:pt>
                <c:pt idx="326">
                  <c:v>43160</c:v>
                </c:pt>
                <c:pt idx="327">
                  <c:v>43191</c:v>
                </c:pt>
                <c:pt idx="328">
                  <c:v>43221</c:v>
                </c:pt>
                <c:pt idx="329">
                  <c:v>43252</c:v>
                </c:pt>
                <c:pt idx="330">
                  <c:v>43282</c:v>
                </c:pt>
                <c:pt idx="331">
                  <c:v>43313</c:v>
                </c:pt>
                <c:pt idx="332">
                  <c:v>43344</c:v>
                </c:pt>
                <c:pt idx="333">
                  <c:v>43374</c:v>
                </c:pt>
                <c:pt idx="334">
                  <c:v>43405</c:v>
                </c:pt>
                <c:pt idx="335">
                  <c:v>43435</c:v>
                </c:pt>
                <c:pt idx="336">
                  <c:v>43466</c:v>
                </c:pt>
                <c:pt idx="337">
                  <c:v>43497</c:v>
                </c:pt>
                <c:pt idx="338">
                  <c:v>43525</c:v>
                </c:pt>
                <c:pt idx="339">
                  <c:v>43556</c:v>
                </c:pt>
                <c:pt idx="340">
                  <c:v>43586</c:v>
                </c:pt>
                <c:pt idx="341">
                  <c:v>43617</c:v>
                </c:pt>
                <c:pt idx="342">
                  <c:v>43647</c:v>
                </c:pt>
                <c:pt idx="343">
                  <c:v>43678</c:v>
                </c:pt>
                <c:pt idx="344">
                  <c:v>43709</c:v>
                </c:pt>
                <c:pt idx="345">
                  <c:v>43739</c:v>
                </c:pt>
                <c:pt idx="346">
                  <c:v>43770</c:v>
                </c:pt>
                <c:pt idx="347">
                  <c:v>43800</c:v>
                </c:pt>
                <c:pt idx="348">
                  <c:v>43831</c:v>
                </c:pt>
                <c:pt idx="349">
                  <c:v>43862</c:v>
                </c:pt>
                <c:pt idx="350">
                  <c:v>43891</c:v>
                </c:pt>
                <c:pt idx="351">
                  <c:v>43922</c:v>
                </c:pt>
                <c:pt idx="352">
                  <c:v>43952</c:v>
                </c:pt>
                <c:pt idx="353">
                  <c:v>43983</c:v>
                </c:pt>
                <c:pt idx="354">
                  <c:v>44013</c:v>
                </c:pt>
                <c:pt idx="355">
                  <c:v>44044</c:v>
                </c:pt>
                <c:pt idx="356">
                  <c:v>44075</c:v>
                </c:pt>
                <c:pt idx="357">
                  <c:v>44105</c:v>
                </c:pt>
                <c:pt idx="358">
                  <c:v>44136</c:v>
                </c:pt>
                <c:pt idx="359">
                  <c:v>44166</c:v>
                </c:pt>
                <c:pt idx="360">
                  <c:v>44197</c:v>
                </c:pt>
                <c:pt idx="361">
                  <c:v>44228</c:v>
                </c:pt>
                <c:pt idx="362">
                  <c:v>44256</c:v>
                </c:pt>
                <c:pt idx="363">
                  <c:v>44287</c:v>
                </c:pt>
                <c:pt idx="364">
                  <c:v>44317</c:v>
                </c:pt>
                <c:pt idx="365">
                  <c:v>44348</c:v>
                </c:pt>
                <c:pt idx="366">
                  <c:v>44378</c:v>
                </c:pt>
                <c:pt idx="367">
                  <c:v>44409</c:v>
                </c:pt>
                <c:pt idx="368">
                  <c:v>44440</c:v>
                </c:pt>
                <c:pt idx="369">
                  <c:v>44470</c:v>
                </c:pt>
                <c:pt idx="370">
                  <c:v>44501</c:v>
                </c:pt>
                <c:pt idx="371">
                  <c:v>44531</c:v>
                </c:pt>
                <c:pt idx="372">
                  <c:v>44562</c:v>
                </c:pt>
                <c:pt idx="373">
                  <c:v>44593</c:v>
                </c:pt>
                <c:pt idx="374">
                  <c:v>44621</c:v>
                </c:pt>
                <c:pt idx="375">
                  <c:v>44652</c:v>
                </c:pt>
                <c:pt idx="376">
                  <c:v>44682</c:v>
                </c:pt>
                <c:pt idx="377">
                  <c:v>44713</c:v>
                </c:pt>
                <c:pt idx="378">
                  <c:v>44743</c:v>
                </c:pt>
                <c:pt idx="379">
                  <c:v>44774</c:v>
                </c:pt>
                <c:pt idx="380">
                  <c:v>44805</c:v>
                </c:pt>
                <c:pt idx="381">
                  <c:v>44835</c:v>
                </c:pt>
                <c:pt idx="382">
                  <c:v>44866</c:v>
                </c:pt>
                <c:pt idx="383">
                  <c:v>44896</c:v>
                </c:pt>
                <c:pt idx="384">
                  <c:v>44927</c:v>
                </c:pt>
                <c:pt idx="385">
                  <c:v>44958</c:v>
                </c:pt>
                <c:pt idx="386">
                  <c:v>44986</c:v>
                </c:pt>
                <c:pt idx="387">
                  <c:v>45017</c:v>
                </c:pt>
                <c:pt idx="388">
                  <c:v>45047</c:v>
                </c:pt>
                <c:pt idx="389">
                  <c:v>45078</c:v>
                </c:pt>
                <c:pt idx="390">
                  <c:v>45108</c:v>
                </c:pt>
                <c:pt idx="391">
                  <c:v>45139</c:v>
                </c:pt>
                <c:pt idx="392">
                  <c:v>45170</c:v>
                </c:pt>
                <c:pt idx="393">
                  <c:v>45200</c:v>
                </c:pt>
                <c:pt idx="394">
                  <c:v>45231</c:v>
                </c:pt>
                <c:pt idx="395">
                  <c:v>45261</c:v>
                </c:pt>
                <c:pt idx="396">
                  <c:v>45292</c:v>
                </c:pt>
              </c:numCache>
            </c:numRef>
          </c:cat>
          <c:val>
            <c:numRef>
              <c:f>Sheet15!$D$3:$D$495</c:f>
              <c:numCache>
                <c:formatCode>0%</c:formatCode>
                <c:ptCount val="397"/>
                <c:pt idx="0" formatCode="0.0%">
                  <c:v>3.0864300000000001E-2</c:v>
                </c:pt>
                <c:pt idx="1">
                  <c:v>3.0864300000000001E-2</c:v>
                </c:pt>
                <c:pt idx="2">
                  <c:v>3.0864300000000001E-2</c:v>
                </c:pt>
                <c:pt idx="3">
                  <c:v>3.0864300000000001E-2</c:v>
                </c:pt>
                <c:pt idx="4">
                  <c:v>3.0864300000000001E-2</c:v>
                </c:pt>
                <c:pt idx="5">
                  <c:v>3.0864300000000001E-2</c:v>
                </c:pt>
                <c:pt idx="6">
                  <c:v>3.0864300000000001E-2</c:v>
                </c:pt>
                <c:pt idx="7">
                  <c:v>3.0864300000000001E-2</c:v>
                </c:pt>
                <c:pt idx="8">
                  <c:v>3.0864300000000001E-2</c:v>
                </c:pt>
                <c:pt idx="9">
                  <c:v>3.0864300000000001E-2</c:v>
                </c:pt>
                <c:pt idx="10">
                  <c:v>3.0864300000000001E-2</c:v>
                </c:pt>
                <c:pt idx="11">
                  <c:v>3.0864300000000001E-2</c:v>
                </c:pt>
                <c:pt idx="12">
                  <c:v>3.0864300000000001E-2</c:v>
                </c:pt>
                <c:pt idx="13">
                  <c:v>3.0864300000000001E-2</c:v>
                </c:pt>
                <c:pt idx="14">
                  <c:v>3.0864300000000001E-2</c:v>
                </c:pt>
                <c:pt idx="15">
                  <c:v>3.0864300000000001E-2</c:v>
                </c:pt>
                <c:pt idx="16">
                  <c:v>3.0864300000000001E-2</c:v>
                </c:pt>
                <c:pt idx="17">
                  <c:v>3.0864300000000001E-2</c:v>
                </c:pt>
                <c:pt idx="18">
                  <c:v>3.0864300000000001E-2</c:v>
                </c:pt>
                <c:pt idx="19">
                  <c:v>3.0864300000000001E-2</c:v>
                </c:pt>
                <c:pt idx="20">
                  <c:v>3.0864300000000001E-2</c:v>
                </c:pt>
                <c:pt idx="21">
                  <c:v>3.0864300000000001E-2</c:v>
                </c:pt>
                <c:pt idx="22">
                  <c:v>3.0864300000000001E-2</c:v>
                </c:pt>
                <c:pt idx="23">
                  <c:v>3.0864300000000001E-2</c:v>
                </c:pt>
                <c:pt idx="24">
                  <c:v>3.0864300000000001E-2</c:v>
                </c:pt>
                <c:pt idx="25">
                  <c:v>3.0864300000000001E-2</c:v>
                </c:pt>
                <c:pt idx="26">
                  <c:v>3.0864300000000001E-2</c:v>
                </c:pt>
                <c:pt idx="27">
                  <c:v>3.0864300000000001E-2</c:v>
                </c:pt>
                <c:pt idx="28">
                  <c:v>3.0864300000000001E-2</c:v>
                </c:pt>
                <c:pt idx="29">
                  <c:v>3.0864300000000001E-2</c:v>
                </c:pt>
                <c:pt idx="30">
                  <c:v>3.0864300000000001E-2</c:v>
                </c:pt>
                <c:pt idx="31">
                  <c:v>3.0864300000000001E-2</c:v>
                </c:pt>
                <c:pt idx="32">
                  <c:v>3.0864300000000001E-2</c:v>
                </c:pt>
                <c:pt idx="33">
                  <c:v>3.0864300000000001E-2</c:v>
                </c:pt>
                <c:pt idx="34">
                  <c:v>3.0864300000000001E-2</c:v>
                </c:pt>
                <c:pt idx="35">
                  <c:v>3.0864300000000001E-2</c:v>
                </c:pt>
                <c:pt idx="36">
                  <c:v>3.0864300000000001E-2</c:v>
                </c:pt>
                <c:pt idx="37">
                  <c:v>3.0864300000000001E-2</c:v>
                </c:pt>
                <c:pt idx="38">
                  <c:v>3.0864300000000001E-2</c:v>
                </c:pt>
                <c:pt idx="39">
                  <c:v>3.0864300000000001E-2</c:v>
                </c:pt>
                <c:pt idx="40">
                  <c:v>3.0864300000000001E-2</c:v>
                </c:pt>
                <c:pt idx="41">
                  <c:v>3.0864300000000001E-2</c:v>
                </c:pt>
                <c:pt idx="42">
                  <c:v>3.0864300000000001E-2</c:v>
                </c:pt>
                <c:pt idx="43">
                  <c:v>3.0864300000000001E-2</c:v>
                </c:pt>
                <c:pt idx="44">
                  <c:v>3.0864300000000001E-2</c:v>
                </c:pt>
                <c:pt idx="45">
                  <c:v>3.0864300000000001E-2</c:v>
                </c:pt>
                <c:pt idx="46">
                  <c:v>3.0864300000000001E-2</c:v>
                </c:pt>
                <c:pt idx="47">
                  <c:v>3.0864300000000001E-2</c:v>
                </c:pt>
                <c:pt idx="48">
                  <c:v>3.0864300000000001E-2</c:v>
                </c:pt>
                <c:pt idx="49">
                  <c:v>3.0864300000000001E-2</c:v>
                </c:pt>
                <c:pt idx="50">
                  <c:v>3.0864300000000001E-2</c:v>
                </c:pt>
                <c:pt idx="51">
                  <c:v>3.0864300000000001E-2</c:v>
                </c:pt>
                <c:pt idx="52">
                  <c:v>3.0864300000000001E-2</c:v>
                </c:pt>
                <c:pt idx="53">
                  <c:v>3.0864300000000001E-2</c:v>
                </c:pt>
                <c:pt idx="54">
                  <c:v>3.0864300000000001E-2</c:v>
                </c:pt>
                <c:pt idx="55">
                  <c:v>3.0864300000000001E-2</c:v>
                </c:pt>
                <c:pt idx="56">
                  <c:v>3.0864300000000001E-2</c:v>
                </c:pt>
                <c:pt idx="57">
                  <c:v>3.0864300000000001E-2</c:v>
                </c:pt>
                <c:pt idx="58">
                  <c:v>3.0864300000000001E-2</c:v>
                </c:pt>
                <c:pt idx="59">
                  <c:v>3.0864300000000001E-2</c:v>
                </c:pt>
                <c:pt idx="60">
                  <c:v>3.0864300000000001E-2</c:v>
                </c:pt>
                <c:pt idx="61">
                  <c:v>3.0864300000000001E-2</c:v>
                </c:pt>
                <c:pt idx="62">
                  <c:v>3.0864300000000001E-2</c:v>
                </c:pt>
                <c:pt idx="63">
                  <c:v>3.0864300000000001E-2</c:v>
                </c:pt>
                <c:pt idx="64">
                  <c:v>3.0864300000000001E-2</c:v>
                </c:pt>
                <c:pt idx="65">
                  <c:v>3.0864300000000001E-2</c:v>
                </c:pt>
                <c:pt idx="66">
                  <c:v>3.0864300000000001E-2</c:v>
                </c:pt>
                <c:pt idx="67">
                  <c:v>3.0864300000000001E-2</c:v>
                </c:pt>
                <c:pt idx="68">
                  <c:v>3.0864300000000001E-2</c:v>
                </c:pt>
                <c:pt idx="69">
                  <c:v>3.0864300000000001E-2</c:v>
                </c:pt>
                <c:pt idx="70">
                  <c:v>3.0864300000000001E-2</c:v>
                </c:pt>
                <c:pt idx="71">
                  <c:v>3.0864300000000001E-2</c:v>
                </c:pt>
                <c:pt idx="72">
                  <c:v>3.0864300000000001E-2</c:v>
                </c:pt>
                <c:pt idx="73">
                  <c:v>3.0864300000000001E-2</c:v>
                </c:pt>
                <c:pt idx="74">
                  <c:v>3.0864300000000001E-2</c:v>
                </c:pt>
                <c:pt idx="75">
                  <c:v>3.0864300000000001E-2</c:v>
                </c:pt>
                <c:pt idx="76">
                  <c:v>3.0864300000000001E-2</c:v>
                </c:pt>
                <c:pt idx="77">
                  <c:v>3.0864300000000001E-2</c:v>
                </c:pt>
                <c:pt idx="78">
                  <c:v>3.0864300000000001E-2</c:v>
                </c:pt>
                <c:pt idx="79">
                  <c:v>3.0864300000000001E-2</c:v>
                </c:pt>
                <c:pt idx="80">
                  <c:v>3.0864300000000001E-2</c:v>
                </c:pt>
                <c:pt idx="81">
                  <c:v>3.0864300000000001E-2</c:v>
                </c:pt>
                <c:pt idx="82">
                  <c:v>3.0864300000000001E-2</c:v>
                </c:pt>
                <c:pt idx="83">
                  <c:v>3.0864300000000001E-2</c:v>
                </c:pt>
                <c:pt idx="84">
                  <c:v>3.0864300000000001E-2</c:v>
                </c:pt>
                <c:pt idx="85">
                  <c:v>3.0864300000000001E-2</c:v>
                </c:pt>
                <c:pt idx="86">
                  <c:v>3.0864300000000001E-2</c:v>
                </c:pt>
                <c:pt idx="87">
                  <c:v>3.0864300000000001E-2</c:v>
                </c:pt>
                <c:pt idx="88">
                  <c:v>3.0864300000000001E-2</c:v>
                </c:pt>
                <c:pt idx="89">
                  <c:v>3.0864300000000001E-2</c:v>
                </c:pt>
                <c:pt idx="90">
                  <c:v>3.0864300000000001E-2</c:v>
                </c:pt>
                <c:pt idx="91">
                  <c:v>3.0864300000000001E-2</c:v>
                </c:pt>
                <c:pt idx="92">
                  <c:v>3.0864300000000001E-2</c:v>
                </c:pt>
                <c:pt idx="93">
                  <c:v>3.0864300000000001E-2</c:v>
                </c:pt>
                <c:pt idx="94">
                  <c:v>3.0864300000000001E-2</c:v>
                </c:pt>
                <c:pt idx="95">
                  <c:v>3.0864300000000001E-2</c:v>
                </c:pt>
                <c:pt idx="96">
                  <c:v>3.0864300000000001E-2</c:v>
                </c:pt>
                <c:pt idx="97">
                  <c:v>3.0864300000000001E-2</c:v>
                </c:pt>
                <c:pt idx="98">
                  <c:v>3.0864300000000001E-2</c:v>
                </c:pt>
                <c:pt idx="99">
                  <c:v>3.0864300000000001E-2</c:v>
                </c:pt>
                <c:pt idx="100">
                  <c:v>3.0864300000000001E-2</c:v>
                </c:pt>
                <c:pt idx="101">
                  <c:v>3.0864300000000001E-2</c:v>
                </c:pt>
                <c:pt idx="102">
                  <c:v>3.0864300000000001E-2</c:v>
                </c:pt>
                <c:pt idx="103">
                  <c:v>3.0864300000000001E-2</c:v>
                </c:pt>
                <c:pt idx="104">
                  <c:v>3.0864300000000001E-2</c:v>
                </c:pt>
                <c:pt idx="105">
                  <c:v>3.0864300000000001E-2</c:v>
                </c:pt>
                <c:pt idx="106">
                  <c:v>3.0864300000000001E-2</c:v>
                </c:pt>
                <c:pt idx="107">
                  <c:v>3.0864300000000001E-2</c:v>
                </c:pt>
                <c:pt idx="108">
                  <c:v>3.0864300000000001E-2</c:v>
                </c:pt>
                <c:pt idx="109">
                  <c:v>3.0864300000000001E-2</c:v>
                </c:pt>
                <c:pt idx="110">
                  <c:v>3.0864300000000001E-2</c:v>
                </c:pt>
                <c:pt idx="111">
                  <c:v>3.0864300000000001E-2</c:v>
                </c:pt>
                <c:pt idx="112">
                  <c:v>3.0864300000000001E-2</c:v>
                </c:pt>
                <c:pt idx="113">
                  <c:v>3.0864300000000001E-2</c:v>
                </c:pt>
                <c:pt idx="114">
                  <c:v>3.0864300000000001E-2</c:v>
                </c:pt>
                <c:pt idx="115">
                  <c:v>3.0864300000000001E-2</c:v>
                </c:pt>
                <c:pt idx="116">
                  <c:v>3.0864300000000001E-2</c:v>
                </c:pt>
                <c:pt idx="117">
                  <c:v>3.0864300000000001E-2</c:v>
                </c:pt>
                <c:pt idx="118">
                  <c:v>3.0864300000000001E-2</c:v>
                </c:pt>
                <c:pt idx="119">
                  <c:v>3.0864300000000001E-2</c:v>
                </c:pt>
                <c:pt idx="120">
                  <c:v>3.0864300000000001E-2</c:v>
                </c:pt>
                <c:pt idx="121">
                  <c:v>3.0864300000000001E-2</c:v>
                </c:pt>
                <c:pt idx="122">
                  <c:v>3.0864300000000001E-2</c:v>
                </c:pt>
                <c:pt idx="123">
                  <c:v>3.0864300000000001E-2</c:v>
                </c:pt>
                <c:pt idx="124">
                  <c:v>3.0864300000000001E-2</c:v>
                </c:pt>
                <c:pt idx="125">
                  <c:v>3.0864300000000001E-2</c:v>
                </c:pt>
                <c:pt idx="126">
                  <c:v>3.0864300000000001E-2</c:v>
                </c:pt>
                <c:pt idx="127">
                  <c:v>3.0864300000000001E-2</c:v>
                </c:pt>
                <c:pt idx="128">
                  <c:v>3.0864300000000001E-2</c:v>
                </c:pt>
                <c:pt idx="129">
                  <c:v>3.0864300000000001E-2</c:v>
                </c:pt>
                <c:pt idx="130">
                  <c:v>3.0864300000000001E-2</c:v>
                </c:pt>
                <c:pt idx="131">
                  <c:v>3.0864300000000001E-2</c:v>
                </c:pt>
                <c:pt idx="132">
                  <c:v>3.0864300000000001E-2</c:v>
                </c:pt>
                <c:pt idx="133">
                  <c:v>3.0864300000000001E-2</c:v>
                </c:pt>
                <c:pt idx="134">
                  <c:v>3.0864300000000001E-2</c:v>
                </c:pt>
                <c:pt idx="135">
                  <c:v>3.0864300000000001E-2</c:v>
                </c:pt>
                <c:pt idx="136">
                  <c:v>3.0864300000000001E-2</c:v>
                </c:pt>
                <c:pt idx="137">
                  <c:v>3.0864300000000001E-2</c:v>
                </c:pt>
                <c:pt idx="138">
                  <c:v>3.0864300000000001E-2</c:v>
                </c:pt>
                <c:pt idx="139">
                  <c:v>3.0864300000000001E-2</c:v>
                </c:pt>
                <c:pt idx="140">
                  <c:v>3.0864300000000001E-2</c:v>
                </c:pt>
                <c:pt idx="141">
                  <c:v>3.0864300000000001E-2</c:v>
                </c:pt>
                <c:pt idx="142">
                  <c:v>3.0864300000000001E-2</c:v>
                </c:pt>
                <c:pt idx="143">
                  <c:v>3.0864300000000001E-2</c:v>
                </c:pt>
                <c:pt idx="144">
                  <c:v>3.0864300000000001E-2</c:v>
                </c:pt>
                <c:pt idx="145">
                  <c:v>3.0864300000000001E-2</c:v>
                </c:pt>
                <c:pt idx="146">
                  <c:v>3.0864300000000001E-2</c:v>
                </c:pt>
                <c:pt idx="147">
                  <c:v>3.0864300000000001E-2</c:v>
                </c:pt>
                <c:pt idx="148">
                  <c:v>3.0864300000000001E-2</c:v>
                </c:pt>
                <c:pt idx="149">
                  <c:v>3.0864300000000001E-2</c:v>
                </c:pt>
                <c:pt idx="150">
                  <c:v>3.0864300000000001E-2</c:v>
                </c:pt>
                <c:pt idx="151">
                  <c:v>3.0864300000000001E-2</c:v>
                </c:pt>
                <c:pt idx="152">
                  <c:v>3.0864300000000001E-2</c:v>
                </c:pt>
                <c:pt idx="153">
                  <c:v>3.0864300000000001E-2</c:v>
                </c:pt>
                <c:pt idx="154">
                  <c:v>3.0864300000000001E-2</c:v>
                </c:pt>
                <c:pt idx="155">
                  <c:v>3.0864300000000001E-2</c:v>
                </c:pt>
                <c:pt idx="156">
                  <c:v>3.0864300000000001E-2</c:v>
                </c:pt>
                <c:pt idx="157">
                  <c:v>3.0864300000000001E-2</c:v>
                </c:pt>
                <c:pt idx="158">
                  <c:v>3.0864300000000001E-2</c:v>
                </c:pt>
                <c:pt idx="159">
                  <c:v>3.0864300000000001E-2</c:v>
                </c:pt>
                <c:pt idx="160">
                  <c:v>3.0864300000000001E-2</c:v>
                </c:pt>
                <c:pt idx="161">
                  <c:v>3.0864300000000001E-2</c:v>
                </c:pt>
                <c:pt idx="162">
                  <c:v>3.0864300000000001E-2</c:v>
                </c:pt>
                <c:pt idx="163">
                  <c:v>3.0864300000000001E-2</c:v>
                </c:pt>
                <c:pt idx="164">
                  <c:v>3.0864300000000001E-2</c:v>
                </c:pt>
                <c:pt idx="165">
                  <c:v>3.0864300000000001E-2</c:v>
                </c:pt>
                <c:pt idx="166">
                  <c:v>3.0864300000000001E-2</c:v>
                </c:pt>
                <c:pt idx="167">
                  <c:v>3.0864300000000001E-2</c:v>
                </c:pt>
                <c:pt idx="168">
                  <c:v>3.0864300000000001E-2</c:v>
                </c:pt>
                <c:pt idx="169">
                  <c:v>3.0864300000000001E-2</c:v>
                </c:pt>
                <c:pt idx="170">
                  <c:v>3.0864300000000001E-2</c:v>
                </c:pt>
                <c:pt idx="171">
                  <c:v>3.0864300000000001E-2</c:v>
                </c:pt>
                <c:pt idx="172">
                  <c:v>3.0864300000000001E-2</c:v>
                </c:pt>
                <c:pt idx="173">
                  <c:v>3.0864300000000001E-2</c:v>
                </c:pt>
                <c:pt idx="174">
                  <c:v>3.0864300000000001E-2</c:v>
                </c:pt>
                <c:pt idx="175">
                  <c:v>3.0864300000000001E-2</c:v>
                </c:pt>
                <c:pt idx="176">
                  <c:v>3.0864300000000001E-2</c:v>
                </c:pt>
                <c:pt idx="177">
                  <c:v>3.0864300000000001E-2</c:v>
                </c:pt>
                <c:pt idx="178">
                  <c:v>3.0864300000000001E-2</c:v>
                </c:pt>
                <c:pt idx="179">
                  <c:v>3.0864300000000001E-2</c:v>
                </c:pt>
                <c:pt idx="180">
                  <c:v>3.0864300000000001E-2</c:v>
                </c:pt>
                <c:pt idx="181">
                  <c:v>3.0864300000000001E-2</c:v>
                </c:pt>
                <c:pt idx="182">
                  <c:v>3.0864300000000001E-2</c:v>
                </c:pt>
                <c:pt idx="183">
                  <c:v>3.0864300000000001E-2</c:v>
                </c:pt>
                <c:pt idx="184">
                  <c:v>3.0864300000000001E-2</c:v>
                </c:pt>
                <c:pt idx="185">
                  <c:v>3.0864300000000001E-2</c:v>
                </c:pt>
                <c:pt idx="186">
                  <c:v>3.0864300000000001E-2</c:v>
                </c:pt>
                <c:pt idx="187">
                  <c:v>3.0864300000000001E-2</c:v>
                </c:pt>
                <c:pt idx="188">
                  <c:v>3.0864300000000001E-2</c:v>
                </c:pt>
                <c:pt idx="189">
                  <c:v>3.0864300000000001E-2</c:v>
                </c:pt>
                <c:pt idx="190">
                  <c:v>3.0864300000000001E-2</c:v>
                </c:pt>
                <c:pt idx="191">
                  <c:v>3.0864300000000001E-2</c:v>
                </c:pt>
                <c:pt idx="192">
                  <c:v>3.0864300000000001E-2</c:v>
                </c:pt>
                <c:pt idx="193">
                  <c:v>3.0864300000000001E-2</c:v>
                </c:pt>
                <c:pt idx="194">
                  <c:v>3.0864300000000001E-2</c:v>
                </c:pt>
                <c:pt idx="195">
                  <c:v>3.0864300000000001E-2</c:v>
                </c:pt>
                <c:pt idx="196">
                  <c:v>3.0864300000000001E-2</c:v>
                </c:pt>
                <c:pt idx="197">
                  <c:v>3.0864300000000001E-2</c:v>
                </c:pt>
                <c:pt idx="198">
                  <c:v>3.0864300000000001E-2</c:v>
                </c:pt>
                <c:pt idx="199">
                  <c:v>3.0864300000000001E-2</c:v>
                </c:pt>
                <c:pt idx="200">
                  <c:v>3.0864300000000001E-2</c:v>
                </c:pt>
                <c:pt idx="201">
                  <c:v>3.0864300000000001E-2</c:v>
                </c:pt>
                <c:pt idx="202">
                  <c:v>3.0864300000000001E-2</c:v>
                </c:pt>
                <c:pt idx="203">
                  <c:v>3.0864300000000001E-2</c:v>
                </c:pt>
                <c:pt idx="204">
                  <c:v>3.0864300000000001E-2</c:v>
                </c:pt>
                <c:pt idx="205">
                  <c:v>3.0864300000000001E-2</c:v>
                </c:pt>
                <c:pt idx="206">
                  <c:v>3.0864300000000001E-2</c:v>
                </c:pt>
                <c:pt idx="207">
                  <c:v>3.0864300000000001E-2</c:v>
                </c:pt>
                <c:pt idx="208">
                  <c:v>3.0864300000000001E-2</c:v>
                </c:pt>
                <c:pt idx="209">
                  <c:v>3.0864300000000001E-2</c:v>
                </c:pt>
                <c:pt idx="210">
                  <c:v>3.0864300000000001E-2</c:v>
                </c:pt>
                <c:pt idx="211">
                  <c:v>3.0864300000000001E-2</c:v>
                </c:pt>
                <c:pt idx="212">
                  <c:v>3.0864300000000001E-2</c:v>
                </c:pt>
                <c:pt idx="213">
                  <c:v>3.0864300000000001E-2</c:v>
                </c:pt>
                <c:pt idx="214">
                  <c:v>3.0864300000000001E-2</c:v>
                </c:pt>
                <c:pt idx="215">
                  <c:v>3.0864300000000001E-2</c:v>
                </c:pt>
                <c:pt idx="216">
                  <c:v>3.0864300000000001E-2</c:v>
                </c:pt>
                <c:pt idx="217">
                  <c:v>3.0864300000000001E-2</c:v>
                </c:pt>
                <c:pt idx="218">
                  <c:v>3.0864300000000001E-2</c:v>
                </c:pt>
                <c:pt idx="219">
                  <c:v>3.0864300000000001E-2</c:v>
                </c:pt>
                <c:pt idx="220">
                  <c:v>3.0864300000000001E-2</c:v>
                </c:pt>
                <c:pt idx="221">
                  <c:v>3.0864300000000001E-2</c:v>
                </c:pt>
                <c:pt idx="222">
                  <c:v>3.0864300000000001E-2</c:v>
                </c:pt>
                <c:pt idx="223">
                  <c:v>3.0864300000000001E-2</c:v>
                </c:pt>
                <c:pt idx="224">
                  <c:v>3.0864300000000001E-2</c:v>
                </c:pt>
                <c:pt idx="225">
                  <c:v>3.0864300000000001E-2</c:v>
                </c:pt>
                <c:pt idx="226">
                  <c:v>3.0864300000000001E-2</c:v>
                </c:pt>
                <c:pt idx="227">
                  <c:v>3.0864300000000001E-2</c:v>
                </c:pt>
                <c:pt idx="228">
                  <c:v>3.0864300000000001E-2</c:v>
                </c:pt>
                <c:pt idx="229">
                  <c:v>3.0864300000000001E-2</c:v>
                </c:pt>
                <c:pt idx="230">
                  <c:v>3.0864300000000001E-2</c:v>
                </c:pt>
                <c:pt idx="231">
                  <c:v>3.0864300000000001E-2</c:v>
                </c:pt>
                <c:pt idx="232">
                  <c:v>3.0864300000000001E-2</c:v>
                </c:pt>
                <c:pt idx="233">
                  <c:v>3.0864300000000001E-2</c:v>
                </c:pt>
                <c:pt idx="234">
                  <c:v>3.0864300000000001E-2</c:v>
                </c:pt>
                <c:pt idx="235">
                  <c:v>3.0864300000000001E-2</c:v>
                </c:pt>
                <c:pt idx="236">
                  <c:v>3.0864300000000001E-2</c:v>
                </c:pt>
                <c:pt idx="237">
                  <c:v>3.0864300000000001E-2</c:v>
                </c:pt>
                <c:pt idx="238">
                  <c:v>3.0864300000000001E-2</c:v>
                </c:pt>
                <c:pt idx="239">
                  <c:v>3.0864300000000001E-2</c:v>
                </c:pt>
                <c:pt idx="240">
                  <c:v>3.0864300000000001E-2</c:v>
                </c:pt>
                <c:pt idx="241">
                  <c:v>3.0864300000000001E-2</c:v>
                </c:pt>
                <c:pt idx="242">
                  <c:v>3.0864300000000001E-2</c:v>
                </c:pt>
                <c:pt idx="243">
                  <c:v>3.0864300000000001E-2</c:v>
                </c:pt>
                <c:pt idx="244">
                  <c:v>3.0864300000000001E-2</c:v>
                </c:pt>
                <c:pt idx="245">
                  <c:v>3.0864300000000001E-2</c:v>
                </c:pt>
                <c:pt idx="246">
                  <c:v>3.0864300000000001E-2</c:v>
                </c:pt>
                <c:pt idx="247">
                  <c:v>3.0864300000000001E-2</c:v>
                </c:pt>
                <c:pt idx="248">
                  <c:v>3.0864300000000001E-2</c:v>
                </c:pt>
                <c:pt idx="249">
                  <c:v>3.0864300000000001E-2</c:v>
                </c:pt>
                <c:pt idx="250">
                  <c:v>3.0864300000000001E-2</c:v>
                </c:pt>
                <c:pt idx="251">
                  <c:v>3.0864300000000001E-2</c:v>
                </c:pt>
                <c:pt idx="252">
                  <c:v>3.0864300000000001E-2</c:v>
                </c:pt>
                <c:pt idx="253">
                  <c:v>3.0864300000000001E-2</c:v>
                </c:pt>
                <c:pt idx="254">
                  <c:v>3.0864300000000001E-2</c:v>
                </c:pt>
                <c:pt idx="255">
                  <c:v>3.0864300000000001E-2</c:v>
                </c:pt>
                <c:pt idx="256">
                  <c:v>3.0864300000000001E-2</c:v>
                </c:pt>
                <c:pt idx="257">
                  <c:v>3.0864300000000001E-2</c:v>
                </c:pt>
                <c:pt idx="258">
                  <c:v>3.0864300000000001E-2</c:v>
                </c:pt>
                <c:pt idx="259">
                  <c:v>3.0864300000000001E-2</c:v>
                </c:pt>
                <c:pt idx="260">
                  <c:v>3.0864300000000001E-2</c:v>
                </c:pt>
                <c:pt idx="261">
                  <c:v>3.0864300000000001E-2</c:v>
                </c:pt>
                <c:pt idx="262">
                  <c:v>3.0864300000000001E-2</c:v>
                </c:pt>
                <c:pt idx="263">
                  <c:v>3.0864300000000001E-2</c:v>
                </c:pt>
                <c:pt idx="264">
                  <c:v>3.0864300000000001E-2</c:v>
                </c:pt>
                <c:pt idx="265">
                  <c:v>3.0864300000000001E-2</c:v>
                </c:pt>
                <c:pt idx="266">
                  <c:v>3.0864300000000001E-2</c:v>
                </c:pt>
                <c:pt idx="267">
                  <c:v>3.0864300000000001E-2</c:v>
                </c:pt>
                <c:pt idx="268">
                  <c:v>3.0864300000000001E-2</c:v>
                </c:pt>
                <c:pt idx="269">
                  <c:v>3.0864300000000001E-2</c:v>
                </c:pt>
                <c:pt idx="270">
                  <c:v>3.0864300000000001E-2</c:v>
                </c:pt>
                <c:pt idx="271">
                  <c:v>3.0864300000000001E-2</c:v>
                </c:pt>
                <c:pt idx="272">
                  <c:v>3.0864300000000001E-2</c:v>
                </c:pt>
                <c:pt idx="273">
                  <c:v>3.0864300000000001E-2</c:v>
                </c:pt>
                <c:pt idx="274">
                  <c:v>3.0864300000000001E-2</c:v>
                </c:pt>
                <c:pt idx="275">
                  <c:v>3.0864300000000001E-2</c:v>
                </c:pt>
                <c:pt idx="276">
                  <c:v>3.0864300000000001E-2</c:v>
                </c:pt>
                <c:pt idx="277">
                  <c:v>3.0864300000000001E-2</c:v>
                </c:pt>
                <c:pt idx="278">
                  <c:v>3.0864300000000001E-2</c:v>
                </c:pt>
                <c:pt idx="279">
                  <c:v>3.0864300000000001E-2</c:v>
                </c:pt>
                <c:pt idx="280">
                  <c:v>3.0864300000000001E-2</c:v>
                </c:pt>
                <c:pt idx="281">
                  <c:v>3.0864300000000001E-2</c:v>
                </c:pt>
                <c:pt idx="282">
                  <c:v>3.0864300000000001E-2</c:v>
                </c:pt>
                <c:pt idx="283">
                  <c:v>3.0864300000000001E-2</c:v>
                </c:pt>
                <c:pt idx="284">
                  <c:v>3.0864300000000001E-2</c:v>
                </c:pt>
                <c:pt idx="285">
                  <c:v>3.0864300000000001E-2</c:v>
                </c:pt>
                <c:pt idx="286">
                  <c:v>3.0864300000000001E-2</c:v>
                </c:pt>
                <c:pt idx="287">
                  <c:v>3.0864300000000001E-2</c:v>
                </c:pt>
                <c:pt idx="288">
                  <c:v>3.0864300000000001E-2</c:v>
                </c:pt>
                <c:pt idx="289">
                  <c:v>3.0864300000000001E-2</c:v>
                </c:pt>
                <c:pt idx="290">
                  <c:v>3.0864300000000001E-2</c:v>
                </c:pt>
                <c:pt idx="291">
                  <c:v>3.0864300000000001E-2</c:v>
                </c:pt>
                <c:pt idx="292">
                  <c:v>3.0864300000000001E-2</c:v>
                </c:pt>
                <c:pt idx="293">
                  <c:v>3.0864300000000001E-2</c:v>
                </c:pt>
                <c:pt idx="294">
                  <c:v>3.0864300000000001E-2</c:v>
                </c:pt>
                <c:pt idx="295">
                  <c:v>3.0864300000000001E-2</c:v>
                </c:pt>
                <c:pt idx="296">
                  <c:v>3.0864300000000001E-2</c:v>
                </c:pt>
                <c:pt idx="297">
                  <c:v>3.0864300000000001E-2</c:v>
                </c:pt>
                <c:pt idx="298">
                  <c:v>3.0864300000000001E-2</c:v>
                </c:pt>
                <c:pt idx="299">
                  <c:v>3.0864300000000001E-2</c:v>
                </c:pt>
                <c:pt idx="300">
                  <c:v>3.0864300000000001E-2</c:v>
                </c:pt>
                <c:pt idx="301">
                  <c:v>3.0864300000000001E-2</c:v>
                </c:pt>
                <c:pt idx="302">
                  <c:v>3.0864300000000001E-2</c:v>
                </c:pt>
                <c:pt idx="303">
                  <c:v>3.0864300000000001E-2</c:v>
                </c:pt>
                <c:pt idx="304">
                  <c:v>3.0864300000000001E-2</c:v>
                </c:pt>
                <c:pt idx="305">
                  <c:v>3.0864300000000001E-2</c:v>
                </c:pt>
                <c:pt idx="306">
                  <c:v>3.0864300000000001E-2</c:v>
                </c:pt>
                <c:pt idx="307">
                  <c:v>3.0864300000000001E-2</c:v>
                </c:pt>
                <c:pt idx="308">
                  <c:v>3.0864300000000001E-2</c:v>
                </c:pt>
                <c:pt idx="309">
                  <c:v>3.0864300000000001E-2</c:v>
                </c:pt>
                <c:pt idx="310">
                  <c:v>3.0864300000000001E-2</c:v>
                </c:pt>
                <c:pt idx="311">
                  <c:v>3.0864300000000001E-2</c:v>
                </c:pt>
                <c:pt idx="312">
                  <c:v>3.0864300000000001E-2</c:v>
                </c:pt>
                <c:pt idx="313">
                  <c:v>3.0864300000000001E-2</c:v>
                </c:pt>
                <c:pt idx="314">
                  <c:v>3.0864300000000001E-2</c:v>
                </c:pt>
                <c:pt idx="315">
                  <c:v>3.0864300000000001E-2</c:v>
                </c:pt>
                <c:pt idx="316">
                  <c:v>3.0864300000000001E-2</c:v>
                </c:pt>
                <c:pt idx="317">
                  <c:v>3.0864300000000001E-2</c:v>
                </c:pt>
                <c:pt idx="318">
                  <c:v>3.0864300000000001E-2</c:v>
                </c:pt>
                <c:pt idx="319">
                  <c:v>3.0864300000000001E-2</c:v>
                </c:pt>
                <c:pt idx="320">
                  <c:v>3.0864300000000001E-2</c:v>
                </c:pt>
                <c:pt idx="321">
                  <c:v>3.0864300000000001E-2</c:v>
                </c:pt>
                <c:pt idx="322">
                  <c:v>3.0864300000000001E-2</c:v>
                </c:pt>
                <c:pt idx="323">
                  <c:v>3.0864300000000001E-2</c:v>
                </c:pt>
                <c:pt idx="324">
                  <c:v>3.0864300000000001E-2</c:v>
                </c:pt>
                <c:pt idx="325">
                  <c:v>3.0864300000000001E-2</c:v>
                </c:pt>
                <c:pt idx="326">
                  <c:v>3.0864300000000001E-2</c:v>
                </c:pt>
                <c:pt idx="327">
                  <c:v>3.0864300000000001E-2</c:v>
                </c:pt>
                <c:pt idx="328">
                  <c:v>3.0864300000000001E-2</c:v>
                </c:pt>
                <c:pt idx="329">
                  <c:v>3.0864300000000001E-2</c:v>
                </c:pt>
                <c:pt idx="330">
                  <c:v>3.0864300000000001E-2</c:v>
                </c:pt>
                <c:pt idx="331">
                  <c:v>3.0864300000000001E-2</c:v>
                </c:pt>
                <c:pt idx="332">
                  <c:v>3.0864300000000001E-2</c:v>
                </c:pt>
                <c:pt idx="333">
                  <c:v>3.0864300000000001E-2</c:v>
                </c:pt>
                <c:pt idx="334">
                  <c:v>3.0864300000000001E-2</c:v>
                </c:pt>
                <c:pt idx="335">
                  <c:v>3.0864300000000001E-2</c:v>
                </c:pt>
                <c:pt idx="336">
                  <c:v>3.0864300000000001E-2</c:v>
                </c:pt>
                <c:pt idx="337">
                  <c:v>3.0864300000000001E-2</c:v>
                </c:pt>
                <c:pt idx="338">
                  <c:v>3.0864300000000001E-2</c:v>
                </c:pt>
                <c:pt idx="339">
                  <c:v>3.0864300000000001E-2</c:v>
                </c:pt>
                <c:pt idx="340">
                  <c:v>3.0864300000000001E-2</c:v>
                </c:pt>
                <c:pt idx="341">
                  <c:v>3.0864300000000001E-2</c:v>
                </c:pt>
                <c:pt idx="342">
                  <c:v>3.0864300000000001E-2</c:v>
                </c:pt>
                <c:pt idx="343">
                  <c:v>3.0864300000000001E-2</c:v>
                </c:pt>
                <c:pt idx="344">
                  <c:v>3.0864300000000001E-2</c:v>
                </c:pt>
                <c:pt idx="345">
                  <c:v>3.0864300000000001E-2</c:v>
                </c:pt>
                <c:pt idx="346">
                  <c:v>3.0864300000000001E-2</c:v>
                </c:pt>
                <c:pt idx="347">
                  <c:v>3.0864300000000001E-2</c:v>
                </c:pt>
                <c:pt idx="348">
                  <c:v>3.0864300000000001E-2</c:v>
                </c:pt>
                <c:pt idx="349">
                  <c:v>3.0864300000000001E-2</c:v>
                </c:pt>
                <c:pt idx="350">
                  <c:v>3.0864300000000001E-2</c:v>
                </c:pt>
                <c:pt idx="351">
                  <c:v>3.0864300000000001E-2</c:v>
                </c:pt>
                <c:pt idx="352">
                  <c:v>3.0864300000000001E-2</c:v>
                </c:pt>
                <c:pt idx="353">
                  <c:v>3.0864300000000001E-2</c:v>
                </c:pt>
                <c:pt idx="354">
                  <c:v>3.0864300000000001E-2</c:v>
                </c:pt>
                <c:pt idx="355">
                  <c:v>3.0864300000000001E-2</c:v>
                </c:pt>
                <c:pt idx="356">
                  <c:v>3.0864300000000001E-2</c:v>
                </c:pt>
                <c:pt idx="357">
                  <c:v>3.0864300000000001E-2</c:v>
                </c:pt>
                <c:pt idx="358">
                  <c:v>3.0864300000000001E-2</c:v>
                </c:pt>
                <c:pt idx="359">
                  <c:v>3.0864300000000001E-2</c:v>
                </c:pt>
                <c:pt idx="360">
                  <c:v>3.0864300000000001E-2</c:v>
                </c:pt>
                <c:pt idx="361">
                  <c:v>3.0864300000000001E-2</c:v>
                </c:pt>
                <c:pt idx="362">
                  <c:v>3.0864300000000001E-2</c:v>
                </c:pt>
                <c:pt idx="363">
                  <c:v>3.0864300000000001E-2</c:v>
                </c:pt>
                <c:pt idx="364">
                  <c:v>3.0864300000000001E-2</c:v>
                </c:pt>
                <c:pt idx="365">
                  <c:v>3.0864300000000001E-2</c:v>
                </c:pt>
                <c:pt idx="366">
                  <c:v>3.0864300000000001E-2</c:v>
                </c:pt>
                <c:pt idx="367">
                  <c:v>3.0864300000000001E-2</c:v>
                </c:pt>
                <c:pt idx="368">
                  <c:v>3.0864300000000001E-2</c:v>
                </c:pt>
                <c:pt idx="369">
                  <c:v>3.0864300000000001E-2</c:v>
                </c:pt>
                <c:pt idx="370">
                  <c:v>3.0864300000000001E-2</c:v>
                </c:pt>
                <c:pt idx="371">
                  <c:v>3.0864300000000001E-2</c:v>
                </c:pt>
                <c:pt idx="372">
                  <c:v>3.0864300000000001E-2</c:v>
                </c:pt>
                <c:pt idx="373">
                  <c:v>3.0864300000000001E-2</c:v>
                </c:pt>
                <c:pt idx="374">
                  <c:v>3.0864300000000001E-2</c:v>
                </c:pt>
                <c:pt idx="375">
                  <c:v>3.0864300000000001E-2</c:v>
                </c:pt>
                <c:pt idx="376">
                  <c:v>3.0864300000000001E-2</c:v>
                </c:pt>
                <c:pt idx="377">
                  <c:v>3.0864300000000001E-2</c:v>
                </c:pt>
                <c:pt idx="378">
                  <c:v>3.0864300000000001E-2</c:v>
                </c:pt>
                <c:pt idx="379">
                  <c:v>3.0864300000000001E-2</c:v>
                </c:pt>
                <c:pt idx="380">
                  <c:v>3.0864300000000001E-2</c:v>
                </c:pt>
                <c:pt idx="381">
                  <c:v>3.0864300000000001E-2</c:v>
                </c:pt>
                <c:pt idx="382">
                  <c:v>3.0864300000000001E-2</c:v>
                </c:pt>
                <c:pt idx="383">
                  <c:v>3.0864300000000001E-2</c:v>
                </c:pt>
                <c:pt idx="384">
                  <c:v>3.0864300000000001E-2</c:v>
                </c:pt>
                <c:pt idx="385">
                  <c:v>3.0864300000000001E-2</c:v>
                </c:pt>
                <c:pt idx="386">
                  <c:v>3.0864300000000001E-2</c:v>
                </c:pt>
                <c:pt idx="387">
                  <c:v>3.0864300000000001E-2</c:v>
                </c:pt>
                <c:pt idx="388">
                  <c:v>3.0864300000000001E-2</c:v>
                </c:pt>
                <c:pt idx="389">
                  <c:v>3.0864300000000001E-2</c:v>
                </c:pt>
                <c:pt idx="390">
                  <c:v>3.0864300000000001E-2</c:v>
                </c:pt>
                <c:pt idx="391">
                  <c:v>3.0864300000000001E-2</c:v>
                </c:pt>
                <c:pt idx="392">
                  <c:v>3.0864300000000001E-2</c:v>
                </c:pt>
                <c:pt idx="393">
                  <c:v>3.0864300000000001E-2</c:v>
                </c:pt>
                <c:pt idx="394">
                  <c:v>3.0864300000000001E-2</c:v>
                </c:pt>
                <c:pt idx="395">
                  <c:v>3.0864300000000001E-2</c:v>
                </c:pt>
                <c:pt idx="396">
                  <c:v>3.0864300000000001E-2</c:v>
                </c:pt>
              </c:numCache>
            </c:numRef>
          </c:val>
          <c:smooth val="0"/>
          <c:extLst>
            <c:ext xmlns:c16="http://schemas.microsoft.com/office/drawing/2014/chart" uri="{C3380CC4-5D6E-409C-BE32-E72D297353CC}">
              <c16:uniqueId val="{00000002-3298-4AFE-9546-33D707467B25}"/>
            </c:ext>
          </c:extLst>
        </c:ser>
        <c:ser>
          <c:idx val="3"/>
          <c:order val="3"/>
          <c:tx>
            <c:strRef>
              <c:f>Sheet15!$E$2</c:f>
              <c:strCache>
                <c:ptCount val="1"/>
                <c:pt idx="0">
                  <c:v>Bonds</c:v>
                </c:pt>
              </c:strCache>
            </c:strRef>
          </c:tx>
          <c:spPr>
            <a:ln w="28575" cap="rnd">
              <a:solidFill>
                <a:schemeClr val="accent2"/>
              </a:solidFill>
              <a:prstDash val="sysDash"/>
              <a:round/>
            </a:ln>
            <a:effectLst/>
          </c:spPr>
          <c:marker>
            <c:symbol val="none"/>
          </c:marker>
          <c:dLbls>
            <c:dLbl>
              <c:idx val="204"/>
              <c:layout>
                <c:manualLayout>
                  <c:x val="-3.4869029534783359E-2"/>
                  <c:y val="-2.25052033928753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98-4AFE-9546-33D707467B2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5!$A$3:$A$495</c:f>
              <c:numCache>
                <c:formatCode>mmm\-yy</c:formatCode>
                <c:ptCount val="397"/>
                <c:pt idx="0">
                  <c:v>33239</c:v>
                </c:pt>
                <c:pt idx="1">
                  <c:v>33270</c:v>
                </c:pt>
                <c:pt idx="2">
                  <c:v>33298</c:v>
                </c:pt>
                <c:pt idx="3">
                  <c:v>33329</c:v>
                </c:pt>
                <c:pt idx="4">
                  <c:v>33359</c:v>
                </c:pt>
                <c:pt idx="5">
                  <c:v>33390</c:v>
                </c:pt>
                <c:pt idx="6">
                  <c:v>33420</c:v>
                </c:pt>
                <c:pt idx="7">
                  <c:v>33451</c:v>
                </c:pt>
                <c:pt idx="8">
                  <c:v>33482</c:v>
                </c:pt>
                <c:pt idx="9">
                  <c:v>33512</c:v>
                </c:pt>
                <c:pt idx="10">
                  <c:v>33543</c:v>
                </c:pt>
                <c:pt idx="11">
                  <c:v>33573</c:v>
                </c:pt>
                <c:pt idx="12">
                  <c:v>33604</c:v>
                </c:pt>
                <c:pt idx="13">
                  <c:v>33635</c:v>
                </c:pt>
                <c:pt idx="14">
                  <c:v>33664</c:v>
                </c:pt>
                <c:pt idx="15">
                  <c:v>33695</c:v>
                </c:pt>
                <c:pt idx="16">
                  <c:v>33725</c:v>
                </c:pt>
                <c:pt idx="17">
                  <c:v>33756</c:v>
                </c:pt>
                <c:pt idx="18">
                  <c:v>33786</c:v>
                </c:pt>
                <c:pt idx="19">
                  <c:v>33817</c:v>
                </c:pt>
                <c:pt idx="20">
                  <c:v>33848</c:v>
                </c:pt>
                <c:pt idx="21">
                  <c:v>33878</c:v>
                </c:pt>
                <c:pt idx="22">
                  <c:v>33909</c:v>
                </c:pt>
                <c:pt idx="23">
                  <c:v>33939</c:v>
                </c:pt>
                <c:pt idx="24">
                  <c:v>33970</c:v>
                </c:pt>
                <c:pt idx="25">
                  <c:v>34001</c:v>
                </c:pt>
                <c:pt idx="26">
                  <c:v>34029</c:v>
                </c:pt>
                <c:pt idx="27">
                  <c:v>34060</c:v>
                </c:pt>
                <c:pt idx="28">
                  <c:v>34090</c:v>
                </c:pt>
                <c:pt idx="29">
                  <c:v>34121</c:v>
                </c:pt>
                <c:pt idx="30">
                  <c:v>34151</c:v>
                </c:pt>
                <c:pt idx="31">
                  <c:v>34182</c:v>
                </c:pt>
                <c:pt idx="32">
                  <c:v>34213</c:v>
                </c:pt>
                <c:pt idx="33">
                  <c:v>34243</c:v>
                </c:pt>
                <c:pt idx="34">
                  <c:v>34274</c:v>
                </c:pt>
                <c:pt idx="35">
                  <c:v>34304</c:v>
                </c:pt>
                <c:pt idx="36">
                  <c:v>34335</c:v>
                </c:pt>
                <c:pt idx="37">
                  <c:v>34366</c:v>
                </c:pt>
                <c:pt idx="38">
                  <c:v>34394</c:v>
                </c:pt>
                <c:pt idx="39">
                  <c:v>34425</c:v>
                </c:pt>
                <c:pt idx="40">
                  <c:v>34455</c:v>
                </c:pt>
                <c:pt idx="41">
                  <c:v>34486</c:v>
                </c:pt>
                <c:pt idx="42">
                  <c:v>34516</c:v>
                </c:pt>
                <c:pt idx="43">
                  <c:v>34547</c:v>
                </c:pt>
                <c:pt idx="44">
                  <c:v>34578</c:v>
                </c:pt>
                <c:pt idx="45">
                  <c:v>34608</c:v>
                </c:pt>
                <c:pt idx="46">
                  <c:v>34639</c:v>
                </c:pt>
                <c:pt idx="47">
                  <c:v>34669</c:v>
                </c:pt>
                <c:pt idx="48">
                  <c:v>34700</c:v>
                </c:pt>
                <c:pt idx="49">
                  <c:v>34731</c:v>
                </c:pt>
                <c:pt idx="50">
                  <c:v>34759</c:v>
                </c:pt>
                <c:pt idx="51">
                  <c:v>34790</c:v>
                </c:pt>
                <c:pt idx="52">
                  <c:v>34820</c:v>
                </c:pt>
                <c:pt idx="53">
                  <c:v>34851</c:v>
                </c:pt>
                <c:pt idx="54">
                  <c:v>34881</c:v>
                </c:pt>
                <c:pt idx="55">
                  <c:v>34912</c:v>
                </c:pt>
                <c:pt idx="56">
                  <c:v>34943</c:v>
                </c:pt>
                <c:pt idx="57">
                  <c:v>34973</c:v>
                </c:pt>
                <c:pt idx="58">
                  <c:v>35004</c:v>
                </c:pt>
                <c:pt idx="59">
                  <c:v>35034</c:v>
                </c:pt>
                <c:pt idx="60">
                  <c:v>35065</c:v>
                </c:pt>
                <c:pt idx="61">
                  <c:v>35096</c:v>
                </c:pt>
                <c:pt idx="62">
                  <c:v>35125</c:v>
                </c:pt>
                <c:pt idx="63">
                  <c:v>35156</c:v>
                </c:pt>
                <c:pt idx="64">
                  <c:v>35186</c:v>
                </c:pt>
                <c:pt idx="65">
                  <c:v>35217</c:v>
                </c:pt>
                <c:pt idx="66">
                  <c:v>35247</c:v>
                </c:pt>
                <c:pt idx="67">
                  <c:v>35278</c:v>
                </c:pt>
                <c:pt idx="68">
                  <c:v>35309</c:v>
                </c:pt>
                <c:pt idx="69">
                  <c:v>35339</c:v>
                </c:pt>
                <c:pt idx="70">
                  <c:v>35370</c:v>
                </c:pt>
                <c:pt idx="71">
                  <c:v>35400</c:v>
                </c:pt>
                <c:pt idx="72">
                  <c:v>35431</c:v>
                </c:pt>
                <c:pt idx="73">
                  <c:v>35462</c:v>
                </c:pt>
                <c:pt idx="74">
                  <c:v>35490</c:v>
                </c:pt>
                <c:pt idx="75">
                  <c:v>35521</c:v>
                </c:pt>
                <c:pt idx="76">
                  <c:v>35551</c:v>
                </c:pt>
                <c:pt idx="77">
                  <c:v>35582</c:v>
                </c:pt>
                <c:pt idx="78">
                  <c:v>35612</c:v>
                </c:pt>
                <c:pt idx="79">
                  <c:v>35643</c:v>
                </c:pt>
                <c:pt idx="80">
                  <c:v>35674</c:v>
                </c:pt>
                <c:pt idx="81">
                  <c:v>35704</c:v>
                </c:pt>
                <c:pt idx="82">
                  <c:v>35735</c:v>
                </c:pt>
                <c:pt idx="83">
                  <c:v>35765</c:v>
                </c:pt>
                <c:pt idx="84">
                  <c:v>35796</c:v>
                </c:pt>
                <c:pt idx="85">
                  <c:v>35827</c:v>
                </c:pt>
                <c:pt idx="86">
                  <c:v>35855</c:v>
                </c:pt>
                <c:pt idx="87">
                  <c:v>35886</c:v>
                </c:pt>
                <c:pt idx="88">
                  <c:v>35916</c:v>
                </c:pt>
                <c:pt idx="89">
                  <c:v>35947</c:v>
                </c:pt>
                <c:pt idx="90">
                  <c:v>35977</c:v>
                </c:pt>
                <c:pt idx="91">
                  <c:v>36008</c:v>
                </c:pt>
                <c:pt idx="92">
                  <c:v>36039</c:v>
                </c:pt>
                <c:pt idx="93">
                  <c:v>36069</c:v>
                </c:pt>
                <c:pt idx="94">
                  <c:v>36100</c:v>
                </c:pt>
                <c:pt idx="95">
                  <c:v>36130</c:v>
                </c:pt>
                <c:pt idx="96">
                  <c:v>36161</c:v>
                </c:pt>
                <c:pt idx="97">
                  <c:v>36192</c:v>
                </c:pt>
                <c:pt idx="98">
                  <c:v>36220</c:v>
                </c:pt>
                <c:pt idx="99">
                  <c:v>36251</c:v>
                </c:pt>
                <c:pt idx="100">
                  <c:v>36281</c:v>
                </c:pt>
                <c:pt idx="101">
                  <c:v>36312</c:v>
                </c:pt>
                <c:pt idx="102">
                  <c:v>36342</c:v>
                </c:pt>
                <c:pt idx="103">
                  <c:v>36373</c:v>
                </c:pt>
                <c:pt idx="104">
                  <c:v>36404</c:v>
                </c:pt>
                <c:pt idx="105">
                  <c:v>36434</c:v>
                </c:pt>
                <c:pt idx="106">
                  <c:v>36465</c:v>
                </c:pt>
                <c:pt idx="107">
                  <c:v>36495</c:v>
                </c:pt>
                <c:pt idx="108">
                  <c:v>36526</c:v>
                </c:pt>
                <c:pt idx="109">
                  <c:v>36557</c:v>
                </c:pt>
                <c:pt idx="110">
                  <c:v>36586</c:v>
                </c:pt>
                <c:pt idx="111">
                  <c:v>36617</c:v>
                </c:pt>
                <c:pt idx="112">
                  <c:v>36647</c:v>
                </c:pt>
                <c:pt idx="113">
                  <c:v>36678</c:v>
                </c:pt>
                <c:pt idx="114">
                  <c:v>36708</c:v>
                </c:pt>
                <c:pt idx="115">
                  <c:v>36739</c:v>
                </c:pt>
                <c:pt idx="116">
                  <c:v>36770</c:v>
                </c:pt>
                <c:pt idx="117">
                  <c:v>36800</c:v>
                </c:pt>
                <c:pt idx="118">
                  <c:v>36831</c:v>
                </c:pt>
                <c:pt idx="119">
                  <c:v>36861</c:v>
                </c:pt>
                <c:pt idx="120">
                  <c:v>36892</c:v>
                </c:pt>
                <c:pt idx="121">
                  <c:v>36923</c:v>
                </c:pt>
                <c:pt idx="122">
                  <c:v>36951</c:v>
                </c:pt>
                <c:pt idx="123">
                  <c:v>36982</c:v>
                </c:pt>
                <c:pt idx="124">
                  <c:v>37012</c:v>
                </c:pt>
                <c:pt idx="125">
                  <c:v>37043</c:v>
                </c:pt>
                <c:pt idx="126">
                  <c:v>37073</c:v>
                </c:pt>
                <c:pt idx="127">
                  <c:v>37104</c:v>
                </c:pt>
                <c:pt idx="128">
                  <c:v>37135</c:v>
                </c:pt>
                <c:pt idx="129">
                  <c:v>37165</c:v>
                </c:pt>
                <c:pt idx="130">
                  <c:v>37196</c:v>
                </c:pt>
                <c:pt idx="131">
                  <c:v>37226</c:v>
                </c:pt>
                <c:pt idx="132">
                  <c:v>37257</c:v>
                </c:pt>
                <c:pt idx="133">
                  <c:v>37288</c:v>
                </c:pt>
                <c:pt idx="134">
                  <c:v>37316</c:v>
                </c:pt>
                <c:pt idx="135">
                  <c:v>37347</c:v>
                </c:pt>
                <c:pt idx="136">
                  <c:v>37377</c:v>
                </c:pt>
                <c:pt idx="137">
                  <c:v>37408</c:v>
                </c:pt>
                <c:pt idx="138">
                  <c:v>37438</c:v>
                </c:pt>
                <c:pt idx="139">
                  <c:v>37469</c:v>
                </c:pt>
                <c:pt idx="140">
                  <c:v>37500</c:v>
                </c:pt>
                <c:pt idx="141">
                  <c:v>37530</c:v>
                </c:pt>
                <c:pt idx="142">
                  <c:v>37561</c:v>
                </c:pt>
                <c:pt idx="143">
                  <c:v>37591</c:v>
                </c:pt>
                <c:pt idx="144">
                  <c:v>37622</c:v>
                </c:pt>
                <c:pt idx="145">
                  <c:v>37653</c:v>
                </c:pt>
                <c:pt idx="146">
                  <c:v>37681</c:v>
                </c:pt>
                <c:pt idx="147">
                  <c:v>37712</c:v>
                </c:pt>
                <c:pt idx="148">
                  <c:v>37742</c:v>
                </c:pt>
                <c:pt idx="149">
                  <c:v>37773</c:v>
                </c:pt>
                <c:pt idx="150">
                  <c:v>37803</c:v>
                </c:pt>
                <c:pt idx="151">
                  <c:v>37834</c:v>
                </c:pt>
                <c:pt idx="152">
                  <c:v>37865</c:v>
                </c:pt>
                <c:pt idx="153">
                  <c:v>37895</c:v>
                </c:pt>
                <c:pt idx="154">
                  <c:v>37926</c:v>
                </c:pt>
                <c:pt idx="155">
                  <c:v>37956</c:v>
                </c:pt>
                <c:pt idx="156">
                  <c:v>37987</c:v>
                </c:pt>
                <c:pt idx="157">
                  <c:v>38018</c:v>
                </c:pt>
                <c:pt idx="158">
                  <c:v>38047</c:v>
                </c:pt>
                <c:pt idx="159">
                  <c:v>38078</c:v>
                </c:pt>
                <c:pt idx="160">
                  <c:v>38108</c:v>
                </c:pt>
                <c:pt idx="161">
                  <c:v>38139</c:v>
                </c:pt>
                <c:pt idx="162">
                  <c:v>38169</c:v>
                </c:pt>
                <c:pt idx="163">
                  <c:v>38200</c:v>
                </c:pt>
                <c:pt idx="164">
                  <c:v>38231</c:v>
                </c:pt>
                <c:pt idx="165">
                  <c:v>38261</c:v>
                </c:pt>
                <c:pt idx="166">
                  <c:v>38292</c:v>
                </c:pt>
                <c:pt idx="167">
                  <c:v>38322</c:v>
                </c:pt>
                <c:pt idx="168">
                  <c:v>38353</c:v>
                </c:pt>
                <c:pt idx="169">
                  <c:v>38384</c:v>
                </c:pt>
                <c:pt idx="170">
                  <c:v>38412</c:v>
                </c:pt>
                <c:pt idx="171">
                  <c:v>38443</c:v>
                </c:pt>
                <c:pt idx="172">
                  <c:v>38473</c:v>
                </c:pt>
                <c:pt idx="173">
                  <c:v>38504</c:v>
                </c:pt>
                <c:pt idx="174">
                  <c:v>38534</c:v>
                </c:pt>
                <c:pt idx="175">
                  <c:v>38565</c:v>
                </c:pt>
                <c:pt idx="176">
                  <c:v>38596</c:v>
                </c:pt>
                <c:pt idx="177">
                  <c:v>38626</c:v>
                </c:pt>
                <c:pt idx="178">
                  <c:v>38657</c:v>
                </c:pt>
                <c:pt idx="179">
                  <c:v>38687</c:v>
                </c:pt>
                <c:pt idx="180">
                  <c:v>38718</c:v>
                </c:pt>
                <c:pt idx="181">
                  <c:v>38749</c:v>
                </c:pt>
                <c:pt idx="182">
                  <c:v>38777</c:v>
                </c:pt>
                <c:pt idx="183">
                  <c:v>38808</c:v>
                </c:pt>
                <c:pt idx="184">
                  <c:v>38838</c:v>
                </c:pt>
                <c:pt idx="185">
                  <c:v>38869</c:v>
                </c:pt>
                <c:pt idx="186">
                  <c:v>38899</c:v>
                </c:pt>
                <c:pt idx="187">
                  <c:v>38930</c:v>
                </c:pt>
                <c:pt idx="188">
                  <c:v>38961</c:v>
                </c:pt>
                <c:pt idx="189">
                  <c:v>38991</c:v>
                </c:pt>
                <c:pt idx="190">
                  <c:v>39022</c:v>
                </c:pt>
                <c:pt idx="191">
                  <c:v>39052</c:v>
                </c:pt>
                <c:pt idx="192">
                  <c:v>39083</c:v>
                </c:pt>
                <c:pt idx="193">
                  <c:v>39114</c:v>
                </c:pt>
                <c:pt idx="194">
                  <c:v>39142</c:v>
                </c:pt>
                <c:pt idx="195">
                  <c:v>39173</c:v>
                </c:pt>
                <c:pt idx="196">
                  <c:v>39203</c:v>
                </c:pt>
                <c:pt idx="197">
                  <c:v>39234</c:v>
                </c:pt>
                <c:pt idx="198">
                  <c:v>39264</c:v>
                </c:pt>
                <c:pt idx="199">
                  <c:v>39295</c:v>
                </c:pt>
                <c:pt idx="200">
                  <c:v>39326</c:v>
                </c:pt>
                <c:pt idx="201">
                  <c:v>39356</c:v>
                </c:pt>
                <c:pt idx="202">
                  <c:v>39387</c:v>
                </c:pt>
                <c:pt idx="203">
                  <c:v>39417</c:v>
                </c:pt>
                <c:pt idx="204">
                  <c:v>39448</c:v>
                </c:pt>
                <c:pt idx="205">
                  <c:v>39479</c:v>
                </c:pt>
                <c:pt idx="206">
                  <c:v>39508</c:v>
                </c:pt>
                <c:pt idx="207">
                  <c:v>39539</c:v>
                </c:pt>
                <c:pt idx="208">
                  <c:v>39569</c:v>
                </c:pt>
                <c:pt idx="209">
                  <c:v>39600</c:v>
                </c:pt>
                <c:pt idx="210">
                  <c:v>39630</c:v>
                </c:pt>
                <c:pt idx="211">
                  <c:v>39661</c:v>
                </c:pt>
                <c:pt idx="212">
                  <c:v>39692</c:v>
                </c:pt>
                <c:pt idx="213">
                  <c:v>39722</c:v>
                </c:pt>
                <c:pt idx="214">
                  <c:v>39753</c:v>
                </c:pt>
                <c:pt idx="215">
                  <c:v>39783</c:v>
                </c:pt>
                <c:pt idx="216">
                  <c:v>39814</c:v>
                </c:pt>
                <c:pt idx="217">
                  <c:v>39845</c:v>
                </c:pt>
                <c:pt idx="218">
                  <c:v>39873</c:v>
                </c:pt>
                <c:pt idx="219">
                  <c:v>39904</c:v>
                </c:pt>
                <c:pt idx="220">
                  <c:v>39934</c:v>
                </c:pt>
                <c:pt idx="221">
                  <c:v>39965</c:v>
                </c:pt>
                <c:pt idx="222">
                  <c:v>39995</c:v>
                </c:pt>
                <c:pt idx="223">
                  <c:v>40026</c:v>
                </c:pt>
                <c:pt idx="224">
                  <c:v>40057</c:v>
                </c:pt>
                <c:pt idx="225">
                  <c:v>40087</c:v>
                </c:pt>
                <c:pt idx="226">
                  <c:v>40118</c:v>
                </c:pt>
                <c:pt idx="227">
                  <c:v>40148</c:v>
                </c:pt>
                <c:pt idx="228">
                  <c:v>40179</c:v>
                </c:pt>
                <c:pt idx="229">
                  <c:v>40210</c:v>
                </c:pt>
                <c:pt idx="230">
                  <c:v>40238</c:v>
                </c:pt>
                <c:pt idx="231">
                  <c:v>40269</c:v>
                </c:pt>
                <c:pt idx="232">
                  <c:v>40299</c:v>
                </c:pt>
                <c:pt idx="233">
                  <c:v>40330</c:v>
                </c:pt>
                <c:pt idx="234">
                  <c:v>40360</c:v>
                </c:pt>
                <c:pt idx="235">
                  <c:v>40391</c:v>
                </c:pt>
                <c:pt idx="236">
                  <c:v>40422</c:v>
                </c:pt>
                <c:pt idx="237">
                  <c:v>40452</c:v>
                </c:pt>
                <c:pt idx="238">
                  <c:v>40483</c:v>
                </c:pt>
                <c:pt idx="239">
                  <c:v>40513</c:v>
                </c:pt>
                <c:pt idx="240">
                  <c:v>40544</c:v>
                </c:pt>
                <c:pt idx="241">
                  <c:v>40575</c:v>
                </c:pt>
                <c:pt idx="242">
                  <c:v>40603</c:v>
                </c:pt>
                <c:pt idx="243">
                  <c:v>40634</c:v>
                </c:pt>
                <c:pt idx="244">
                  <c:v>40664</c:v>
                </c:pt>
                <c:pt idx="245">
                  <c:v>40695</c:v>
                </c:pt>
                <c:pt idx="246">
                  <c:v>40725</c:v>
                </c:pt>
                <c:pt idx="247">
                  <c:v>40756</c:v>
                </c:pt>
                <c:pt idx="248">
                  <c:v>40787</c:v>
                </c:pt>
                <c:pt idx="249">
                  <c:v>40817</c:v>
                </c:pt>
                <c:pt idx="250">
                  <c:v>40848</c:v>
                </c:pt>
                <c:pt idx="251">
                  <c:v>40878</c:v>
                </c:pt>
                <c:pt idx="252">
                  <c:v>40909</c:v>
                </c:pt>
                <c:pt idx="253">
                  <c:v>40940</c:v>
                </c:pt>
                <c:pt idx="254">
                  <c:v>40969</c:v>
                </c:pt>
                <c:pt idx="255">
                  <c:v>41000</c:v>
                </c:pt>
                <c:pt idx="256">
                  <c:v>41030</c:v>
                </c:pt>
                <c:pt idx="257">
                  <c:v>41061</c:v>
                </c:pt>
                <c:pt idx="258">
                  <c:v>41091</c:v>
                </c:pt>
                <c:pt idx="259">
                  <c:v>41122</c:v>
                </c:pt>
                <c:pt idx="260">
                  <c:v>41153</c:v>
                </c:pt>
                <c:pt idx="261">
                  <c:v>41183</c:v>
                </c:pt>
                <c:pt idx="262">
                  <c:v>41214</c:v>
                </c:pt>
                <c:pt idx="263">
                  <c:v>41244</c:v>
                </c:pt>
                <c:pt idx="264">
                  <c:v>41275</c:v>
                </c:pt>
                <c:pt idx="265">
                  <c:v>41306</c:v>
                </c:pt>
                <c:pt idx="266">
                  <c:v>41334</c:v>
                </c:pt>
                <c:pt idx="267">
                  <c:v>41365</c:v>
                </c:pt>
                <c:pt idx="268">
                  <c:v>41395</c:v>
                </c:pt>
                <c:pt idx="269">
                  <c:v>41426</c:v>
                </c:pt>
                <c:pt idx="270">
                  <c:v>41456</c:v>
                </c:pt>
                <c:pt idx="271">
                  <c:v>41487</c:v>
                </c:pt>
                <c:pt idx="272">
                  <c:v>41518</c:v>
                </c:pt>
                <c:pt idx="273">
                  <c:v>41548</c:v>
                </c:pt>
                <c:pt idx="274">
                  <c:v>41579</c:v>
                </c:pt>
                <c:pt idx="275">
                  <c:v>41609</c:v>
                </c:pt>
                <c:pt idx="276">
                  <c:v>41640</c:v>
                </c:pt>
                <c:pt idx="277">
                  <c:v>41671</c:v>
                </c:pt>
                <c:pt idx="278">
                  <c:v>41699</c:v>
                </c:pt>
                <c:pt idx="279">
                  <c:v>41730</c:v>
                </c:pt>
                <c:pt idx="280">
                  <c:v>41760</c:v>
                </c:pt>
                <c:pt idx="281">
                  <c:v>41791</c:v>
                </c:pt>
                <c:pt idx="282">
                  <c:v>41821</c:v>
                </c:pt>
                <c:pt idx="283">
                  <c:v>41852</c:v>
                </c:pt>
                <c:pt idx="284">
                  <c:v>41883</c:v>
                </c:pt>
                <c:pt idx="285">
                  <c:v>41913</c:v>
                </c:pt>
                <c:pt idx="286">
                  <c:v>41944</c:v>
                </c:pt>
                <c:pt idx="287">
                  <c:v>41974</c:v>
                </c:pt>
                <c:pt idx="288">
                  <c:v>42005</c:v>
                </c:pt>
                <c:pt idx="289">
                  <c:v>42036</c:v>
                </c:pt>
                <c:pt idx="290">
                  <c:v>42064</c:v>
                </c:pt>
                <c:pt idx="291">
                  <c:v>42095</c:v>
                </c:pt>
                <c:pt idx="292">
                  <c:v>42125</c:v>
                </c:pt>
                <c:pt idx="293">
                  <c:v>42156</c:v>
                </c:pt>
                <c:pt idx="294">
                  <c:v>42186</c:v>
                </c:pt>
                <c:pt idx="295">
                  <c:v>42217</c:v>
                </c:pt>
                <c:pt idx="296">
                  <c:v>42248</c:v>
                </c:pt>
                <c:pt idx="297">
                  <c:v>42278</c:v>
                </c:pt>
                <c:pt idx="298">
                  <c:v>42309</c:v>
                </c:pt>
                <c:pt idx="299">
                  <c:v>42339</c:v>
                </c:pt>
                <c:pt idx="300">
                  <c:v>42370</c:v>
                </c:pt>
                <c:pt idx="301">
                  <c:v>42401</c:v>
                </c:pt>
                <c:pt idx="302">
                  <c:v>42430</c:v>
                </c:pt>
                <c:pt idx="303">
                  <c:v>42461</c:v>
                </c:pt>
                <c:pt idx="304">
                  <c:v>42491</c:v>
                </c:pt>
                <c:pt idx="305">
                  <c:v>42522</c:v>
                </c:pt>
                <c:pt idx="306">
                  <c:v>42552</c:v>
                </c:pt>
                <c:pt idx="307">
                  <c:v>42583</c:v>
                </c:pt>
                <c:pt idx="308">
                  <c:v>42614</c:v>
                </c:pt>
                <c:pt idx="309">
                  <c:v>42644</c:v>
                </c:pt>
                <c:pt idx="310">
                  <c:v>42675</c:v>
                </c:pt>
                <c:pt idx="311">
                  <c:v>42705</c:v>
                </c:pt>
                <c:pt idx="312">
                  <c:v>42736</c:v>
                </c:pt>
                <c:pt idx="313">
                  <c:v>42767</c:v>
                </c:pt>
                <c:pt idx="314">
                  <c:v>42795</c:v>
                </c:pt>
                <c:pt idx="315">
                  <c:v>42826</c:v>
                </c:pt>
                <c:pt idx="316">
                  <c:v>42856</c:v>
                </c:pt>
                <c:pt idx="317">
                  <c:v>42887</c:v>
                </c:pt>
                <c:pt idx="318">
                  <c:v>42917</c:v>
                </c:pt>
                <c:pt idx="319">
                  <c:v>42948</c:v>
                </c:pt>
                <c:pt idx="320">
                  <c:v>42979</c:v>
                </c:pt>
                <c:pt idx="321">
                  <c:v>43009</c:v>
                </c:pt>
                <c:pt idx="322">
                  <c:v>43040</c:v>
                </c:pt>
                <c:pt idx="323">
                  <c:v>43070</c:v>
                </c:pt>
                <c:pt idx="324">
                  <c:v>43101</c:v>
                </c:pt>
                <c:pt idx="325">
                  <c:v>43132</c:v>
                </c:pt>
                <c:pt idx="326">
                  <c:v>43160</c:v>
                </c:pt>
                <c:pt idx="327">
                  <c:v>43191</c:v>
                </c:pt>
                <c:pt idx="328">
                  <c:v>43221</c:v>
                </c:pt>
                <c:pt idx="329">
                  <c:v>43252</c:v>
                </c:pt>
                <c:pt idx="330">
                  <c:v>43282</c:v>
                </c:pt>
                <c:pt idx="331">
                  <c:v>43313</c:v>
                </c:pt>
                <c:pt idx="332">
                  <c:v>43344</c:v>
                </c:pt>
                <c:pt idx="333">
                  <c:v>43374</c:v>
                </c:pt>
                <c:pt idx="334">
                  <c:v>43405</c:v>
                </c:pt>
                <c:pt idx="335">
                  <c:v>43435</c:v>
                </c:pt>
                <c:pt idx="336">
                  <c:v>43466</c:v>
                </c:pt>
                <c:pt idx="337">
                  <c:v>43497</c:v>
                </c:pt>
                <c:pt idx="338">
                  <c:v>43525</c:v>
                </c:pt>
                <c:pt idx="339">
                  <c:v>43556</c:v>
                </c:pt>
                <c:pt idx="340">
                  <c:v>43586</c:v>
                </c:pt>
                <c:pt idx="341">
                  <c:v>43617</c:v>
                </c:pt>
                <c:pt idx="342">
                  <c:v>43647</c:v>
                </c:pt>
                <c:pt idx="343">
                  <c:v>43678</c:v>
                </c:pt>
                <c:pt idx="344">
                  <c:v>43709</c:v>
                </c:pt>
                <c:pt idx="345">
                  <c:v>43739</c:v>
                </c:pt>
                <c:pt idx="346">
                  <c:v>43770</c:v>
                </c:pt>
                <c:pt idx="347">
                  <c:v>43800</c:v>
                </c:pt>
                <c:pt idx="348">
                  <c:v>43831</c:v>
                </c:pt>
                <c:pt idx="349">
                  <c:v>43862</c:v>
                </c:pt>
                <c:pt idx="350">
                  <c:v>43891</c:v>
                </c:pt>
                <c:pt idx="351">
                  <c:v>43922</c:v>
                </c:pt>
                <c:pt idx="352">
                  <c:v>43952</c:v>
                </c:pt>
                <c:pt idx="353">
                  <c:v>43983</c:v>
                </c:pt>
                <c:pt idx="354">
                  <c:v>44013</c:v>
                </c:pt>
                <c:pt idx="355">
                  <c:v>44044</c:v>
                </c:pt>
                <c:pt idx="356">
                  <c:v>44075</c:v>
                </c:pt>
                <c:pt idx="357">
                  <c:v>44105</c:v>
                </c:pt>
                <c:pt idx="358">
                  <c:v>44136</c:v>
                </c:pt>
                <c:pt idx="359">
                  <c:v>44166</c:v>
                </c:pt>
                <c:pt idx="360">
                  <c:v>44197</c:v>
                </c:pt>
                <c:pt idx="361">
                  <c:v>44228</c:v>
                </c:pt>
                <c:pt idx="362">
                  <c:v>44256</c:v>
                </c:pt>
                <c:pt idx="363">
                  <c:v>44287</c:v>
                </c:pt>
                <c:pt idx="364">
                  <c:v>44317</c:v>
                </c:pt>
                <c:pt idx="365">
                  <c:v>44348</c:v>
                </c:pt>
                <c:pt idx="366">
                  <c:v>44378</c:v>
                </c:pt>
                <c:pt idx="367">
                  <c:v>44409</c:v>
                </c:pt>
                <c:pt idx="368">
                  <c:v>44440</c:v>
                </c:pt>
                <c:pt idx="369">
                  <c:v>44470</c:v>
                </c:pt>
                <c:pt idx="370">
                  <c:v>44501</c:v>
                </c:pt>
                <c:pt idx="371">
                  <c:v>44531</c:v>
                </c:pt>
                <c:pt idx="372">
                  <c:v>44562</c:v>
                </c:pt>
                <c:pt idx="373">
                  <c:v>44593</c:v>
                </c:pt>
                <c:pt idx="374">
                  <c:v>44621</c:v>
                </c:pt>
                <c:pt idx="375">
                  <c:v>44652</c:v>
                </c:pt>
                <c:pt idx="376">
                  <c:v>44682</c:v>
                </c:pt>
                <c:pt idx="377">
                  <c:v>44713</c:v>
                </c:pt>
                <c:pt idx="378">
                  <c:v>44743</c:v>
                </c:pt>
                <c:pt idx="379">
                  <c:v>44774</c:v>
                </c:pt>
                <c:pt idx="380">
                  <c:v>44805</c:v>
                </c:pt>
                <c:pt idx="381">
                  <c:v>44835</c:v>
                </c:pt>
                <c:pt idx="382">
                  <c:v>44866</c:v>
                </c:pt>
                <c:pt idx="383">
                  <c:v>44896</c:v>
                </c:pt>
                <c:pt idx="384">
                  <c:v>44927</c:v>
                </c:pt>
                <c:pt idx="385">
                  <c:v>44958</c:v>
                </c:pt>
                <c:pt idx="386">
                  <c:v>44986</c:v>
                </c:pt>
                <c:pt idx="387">
                  <c:v>45017</c:v>
                </c:pt>
                <c:pt idx="388">
                  <c:v>45047</c:v>
                </c:pt>
                <c:pt idx="389">
                  <c:v>45078</c:v>
                </c:pt>
                <c:pt idx="390">
                  <c:v>45108</c:v>
                </c:pt>
                <c:pt idx="391">
                  <c:v>45139</c:v>
                </c:pt>
                <c:pt idx="392">
                  <c:v>45170</c:v>
                </c:pt>
                <c:pt idx="393">
                  <c:v>45200</c:v>
                </c:pt>
                <c:pt idx="394">
                  <c:v>45231</c:v>
                </c:pt>
                <c:pt idx="395">
                  <c:v>45261</c:v>
                </c:pt>
                <c:pt idx="396">
                  <c:v>45292</c:v>
                </c:pt>
              </c:numCache>
            </c:numRef>
          </c:cat>
          <c:val>
            <c:numRef>
              <c:f>Sheet15!$E$3:$E$495</c:f>
              <c:numCache>
                <c:formatCode>0%</c:formatCode>
                <c:ptCount val="397"/>
                <c:pt idx="0" formatCode="0.0%">
                  <c:v>6.0098399999999996E-2</c:v>
                </c:pt>
                <c:pt idx="1">
                  <c:v>6.0098399999999996E-2</c:v>
                </c:pt>
                <c:pt idx="2">
                  <c:v>6.0098399999999996E-2</c:v>
                </c:pt>
                <c:pt idx="3">
                  <c:v>6.0098399999999996E-2</c:v>
                </c:pt>
                <c:pt idx="4">
                  <c:v>6.0098399999999996E-2</c:v>
                </c:pt>
                <c:pt idx="5">
                  <c:v>6.0098399999999996E-2</c:v>
                </c:pt>
                <c:pt idx="6">
                  <c:v>6.0098399999999996E-2</c:v>
                </c:pt>
                <c:pt idx="7">
                  <c:v>6.0098399999999996E-2</c:v>
                </c:pt>
                <c:pt idx="8">
                  <c:v>6.0098399999999996E-2</c:v>
                </c:pt>
                <c:pt idx="9">
                  <c:v>6.0098399999999996E-2</c:v>
                </c:pt>
                <c:pt idx="10">
                  <c:v>6.0098399999999996E-2</c:v>
                </c:pt>
                <c:pt idx="11">
                  <c:v>6.0098399999999996E-2</c:v>
                </c:pt>
                <c:pt idx="12">
                  <c:v>6.0098399999999996E-2</c:v>
                </c:pt>
                <c:pt idx="13">
                  <c:v>6.0098399999999996E-2</c:v>
                </c:pt>
                <c:pt idx="14">
                  <c:v>6.0098399999999996E-2</c:v>
                </c:pt>
                <c:pt idx="15">
                  <c:v>6.0098399999999996E-2</c:v>
                </c:pt>
                <c:pt idx="16">
                  <c:v>6.0098399999999996E-2</c:v>
                </c:pt>
                <c:pt idx="17">
                  <c:v>6.0098399999999996E-2</c:v>
                </c:pt>
                <c:pt idx="18">
                  <c:v>6.0098399999999996E-2</c:v>
                </c:pt>
                <c:pt idx="19">
                  <c:v>6.0098399999999996E-2</c:v>
                </c:pt>
                <c:pt idx="20">
                  <c:v>6.0098399999999996E-2</c:v>
                </c:pt>
                <c:pt idx="21">
                  <c:v>6.0098399999999996E-2</c:v>
                </c:pt>
                <c:pt idx="22">
                  <c:v>6.0098399999999996E-2</c:v>
                </c:pt>
                <c:pt idx="23">
                  <c:v>6.0098399999999996E-2</c:v>
                </c:pt>
                <c:pt idx="24">
                  <c:v>6.0098399999999996E-2</c:v>
                </c:pt>
                <c:pt idx="25">
                  <c:v>6.0098399999999996E-2</c:v>
                </c:pt>
                <c:pt idx="26">
                  <c:v>6.0098399999999996E-2</c:v>
                </c:pt>
                <c:pt idx="27">
                  <c:v>6.0098399999999996E-2</c:v>
                </c:pt>
                <c:pt idx="28">
                  <c:v>6.0098399999999996E-2</c:v>
                </c:pt>
                <c:pt idx="29">
                  <c:v>6.0098399999999996E-2</c:v>
                </c:pt>
                <c:pt idx="30">
                  <c:v>6.0098399999999996E-2</c:v>
                </c:pt>
                <c:pt idx="31">
                  <c:v>6.0098399999999996E-2</c:v>
                </c:pt>
                <c:pt idx="32">
                  <c:v>6.0098399999999996E-2</c:v>
                </c:pt>
                <c:pt idx="33">
                  <c:v>6.0098399999999996E-2</c:v>
                </c:pt>
                <c:pt idx="34">
                  <c:v>6.0098399999999996E-2</c:v>
                </c:pt>
                <c:pt idx="35">
                  <c:v>6.0098399999999996E-2</c:v>
                </c:pt>
                <c:pt idx="36">
                  <c:v>6.0098399999999996E-2</c:v>
                </c:pt>
                <c:pt idx="37">
                  <c:v>6.0098399999999996E-2</c:v>
                </c:pt>
                <c:pt idx="38">
                  <c:v>6.0098399999999996E-2</c:v>
                </c:pt>
                <c:pt idx="39">
                  <c:v>6.0098399999999996E-2</c:v>
                </c:pt>
                <c:pt idx="40">
                  <c:v>6.0098399999999996E-2</c:v>
                </c:pt>
                <c:pt idx="41">
                  <c:v>6.0098399999999996E-2</c:v>
                </c:pt>
                <c:pt idx="42">
                  <c:v>6.0098399999999996E-2</c:v>
                </c:pt>
                <c:pt idx="43">
                  <c:v>6.0098399999999996E-2</c:v>
                </c:pt>
                <c:pt idx="44">
                  <c:v>6.0098399999999996E-2</c:v>
                </c:pt>
                <c:pt idx="45">
                  <c:v>6.0098399999999996E-2</c:v>
                </c:pt>
                <c:pt idx="46">
                  <c:v>6.0098399999999996E-2</c:v>
                </c:pt>
                <c:pt idx="47">
                  <c:v>6.0098399999999996E-2</c:v>
                </c:pt>
                <c:pt idx="48">
                  <c:v>6.0098399999999996E-2</c:v>
                </c:pt>
                <c:pt idx="49">
                  <c:v>6.0098399999999996E-2</c:v>
                </c:pt>
                <c:pt idx="50">
                  <c:v>6.0098399999999996E-2</c:v>
                </c:pt>
                <c:pt idx="51">
                  <c:v>6.0098399999999996E-2</c:v>
                </c:pt>
                <c:pt idx="52">
                  <c:v>6.0098399999999996E-2</c:v>
                </c:pt>
                <c:pt idx="53">
                  <c:v>6.0098399999999996E-2</c:v>
                </c:pt>
                <c:pt idx="54">
                  <c:v>6.0098399999999996E-2</c:v>
                </c:pt>
                <c:pt idx="55">
                  <c:v>6.0098399999999996E-2</c:v>
                </c:pt>
                <c:pt idx="56">
                  <c:v>6.0098399999999996E-2</c:v>
                </c:pt>
                <c:pt idx="57">
                  <c:v>6.0098399999999996E-2</c:v>
                </c:pt>
                <c:pt idx="58">
                  <c:v>6.0098399999999996E-2</c:v>
                </c:pt>
                <c:pt idx="59">
                  <c:v>6.0098399999999996E-2</c:v>
                </c:pt>
                <c:pt idx="60">
                  <c:v>6.0098399999999996E-2</c:v>
                </c:pt>
                <c:pt idx="61">
                  <c:v>6.0098399999999996E-2</c:v>
                </c:pt>
                <c:pt idx="62">
                  <c:v>6.0098399999999996E-2</c:v>
                </c:pt>
                <c:pt idx="63">
                  <c:v>6.0098399999999996E-2</c:v>
                </c:pt>
                <c:pt idx="64">
                  <c:v>6.0098399999999996E-2</c:v>
                </c:pt>
                <c:pt idx="65">
                  <c:v>6.0098399999999996E-2</c:v>
                </c:pt>
                <c:pt idx="66">
                  <c:v>6.0098399999999996E-2</c:v>
                </c:pt>
                <c:pt idx="67">
                  <c:v>6.0098399999999996E-2</c:v>
                </c:pt>
                <c:pt idx="68">
                  <c:v>6.0098399999999996E-2</c:v>
                </c:pt>
                <c:pt idx="69">
                  <c:v>6.0098399999999996E-2</c:v>
                </c:pt>
                <c:pt idx="70">
                  <c:v>6.0098399999999996E-2</c:v>
                </c:pt>
                <c:pt idx="71">
                  <c:v>6.0098399999999996E-2</c:v>
                </c:pt>
                <c:pt idx="72">
                  <c:v>6.0098399999999996E-2</c:v>
                </c:pt>
                <c:pt idx="73">
                  <c:v>6.0098399999999996E-2</c:v>
                </c:pt>
                <c:pt idx="74">
                  <c:v>6.0098399999999996E-2</c:v>
                </c:pt>
                <c:pt idx="75">
                  <c:v>6.0098399999999996E-2</c:v>
                </c:pt>
                <c:pt idx="76">
                  <c:v>6.0098399999999996E-2</c:v>
                </c:pt>
                <c:pt idx="77">
                  <c:v>6.0098399999999996E-2</c:v>
                </c:pt>
                <c:pt idx="78">
                  <c:v>6.0098399999999996E-2</c:v>
                </c:pt>
                <c:pt idx="79">
                  <c:v>6.0098399999999996E-2</c:v>
                </c:pt>
                <c:pt idx="80">
                  <c:v>6.0098399999999996E-2</c:v>
                </c:pt>
                <c:pt idx="81">
                  <c:v>6.0098399999999996E-2</c:v>
                </c:pt>
                <c:pt idx="82">
                  <c:v>6.0098399999999996E-2</c:v>
                </c:pt>
                <c:pt idx="83">
                  <c:v>6.0098399999999996E-2</c:v>
                </c:pt>
                <c:pt idx="84">
                  <c:v>6.0098399999999996E-2</c:v>
                </c:pt>
                <c:pt idx="85">
                  <c:v>6.0098399999999996E-2</c:v>
                </c:pt>
                <c:pt idx="86">
                  <c:v>6.0098399999999996E-2</c:v>
                </c:pt>
                <c:pt idx="87">
                  <c:v>6.0098399999999996E-2</c:v>
                </c:pt>
                <c:pt idx="88">
                  <c:v>6.0098399999999996E-2</c:v>
                </c:pt>
                <c:pt idx="89">
                  <c:v>6.0098399999999996E-2</c:v>
                </c:pt>
                <c:pt idx="90">
                  <c:v>6.0098399999999996E-2</c:v>
                </c:pt>
                <c:pt idx="91">
                  <c:v>6.0098399999999996E-2</c:v>
                </c:pt>
                <c:pt idx="92">
                  <c:v>6.0098399999999996E-2</c:v>
                </c:pt>
                <c:pt idx="93">
                  <c:v>6.0098399999999996E-2</c:v>
                </c:pt>
                <c:pt idx="94">
                  <c:v>6.0098399999999996E-2</c:v>
                </c:pt>
                <c:pt idx="95">
                  <c:v>6.0098399999999996E-2</c:v>
                </c:pt>
                <c:pt idx="96">
                  <c:v>6.0098399999999996E-2</c:v>
                </c:pt>
                <c:pt idx="97">
                  <c:v>6.0098399999999996E-2</c:v>
                </c:pt>
                <c:pt idx="98">
                  <c:v>6.0098399999999996E-2</c:v>
                </c:pt>
                <c:pt idx="99">
                  <c:v>6.0098399999999996E-2</c:v>
                </c:pt>
                <c:pt idx="100">
                  <c:v>6.0098399999999996E-2</c:v>
                </c:pt>
                <c:pt idx="101">
                  <c:v>6.0098399999999996E-2</c:v>
                </c:pt>
                <c:pt idx="102">
                  <c:v>6.0098399999999996E-2</c:v>
                </c:pt>
                <c:pt idx="103">
                  <c:v>6.0098399999999996E-2</c:v>
                </c:pt>
                <c:pt idx="104">
                  <c:v>6.0098399999999996E-2</c:v>
                </c:pt>
                <c:pt idx="105">
                  <c:v>6.0098399999999996E-2</c:v>
                </c:pt>
                <c:pt idx="106">
                  <c:v>6.0098399999999996E-2</c:v>
                </c:pt>
                <c:pt idx="107">
                  <c:v>6.0098399999999996E-2</c:v>
                </c:pt>
                <c:pt idx="108">
                  <c:v>6.0098399999999996E-2</c:v>
                </c:pt>
                <c:pt idx="109">
                  <c:v>6.0098399999999996E-2</c:v>
                </c:pt>
                <c:pt idx="110">
                  <c:v>6.0098399999999996E-2</c:v>
                </c:pt>
                <c:pt idx="111">
                  <c:v>6.0098399999999996E-2</c:v>
                </c:pt>
                <c:pt idx="112">
                  <c:v>6.0098399999999996E-2</c:v>
                </c:pt>
                <c:pt idx="113">
                  <c:v>6.0098399999999996E-2</c:v>
                </c:pt>
                <c:pt idx="114">
                  <c:v>6.0098399999999996E-2</c:v>
                </c:pt>
                <c:pt idx="115">
                  <c:v>6.0098399999999996E-2</c:v>
                </c:pt>
                <c:pt idx="116">
                  <c:v>6.0098399999999996E-2</c:v>
                </c:pt>
                <c:pt idx="117">
                  <c:v>6.0098399999999996E-2</c:v>
                </c:pt>
                <c:pt idx="118">
                  <c:v>6.0098399999999996E-2</c:v>
                </c:pt>
                <c:pt idx="119">
                  <c:v>6.0098399999999996E-2</c:v>
                </c:pt>
                <c:pt idx="120">
                  <c:v>6.0098399999999996E-2</c:v>
                </c:pt>
                <c:pt idx="121">
                  <c:v>6.0098399999999996E-2</c:v>
                </c:pt>
                <c:pt idx="122">
                  <c:v>6.0098399999999996E-2</c:v>
                </c:pt>
                <c:pt idx="123">
                  <c:v>6.0098399999999996E-2</c:v>
                </c:pt>
                <c:pt idx="124">
                  <c:v>6.0098399999999996E-2</c:v>
                </c:pt>
                <c:pt idx="125">
                  <c:v>6.0098399999999996E-2</c:v>
                </c:pt>
                <c:pt idx="126">
                  <c:v>6.0098399999999996E-2</c:v>
                </c:pt>
                <c:pt idx="127">
                  <c:v>6.0098399999999996E-2</c:v>
                </c:pt>
                <c:pt idx="128">
                  <c:v>6.0098399999999996E-2</c:v>
                </c:pt>
                <c:pt idx="129">
                  <c:v>6.0098399999999996E-2</c:v>
                </c:pt>
                <c:pt idx="130">
                  <c:v>6.0098399999999996E-2</c:v>
                </c:pt>
                <c:pt idx="131">
                  <c:v>6.0098399999999996E-2</c:v>
                </c:pt>
                <c:pt idx="132">
                  <c:v>6.0098399999999996E-2</c:v>
                </c:pt>
                <c:pt idx="133">
                  <c:v>6.0098399999999996E-2</c:v>
                </c:pt>
                <c:pt idx="134">
                  <c:v>6.0098399999999996E-2</c:v>
                </c:pt>
                <c:pt idx="135">
                  <c:v>6.0098399999999996E-2</c:v>
                </c:pt>
                <c:pt idx="136">
                  <c:v>6.0098399999999996E-2</c:v>
                </c:pt>
                <c:pt idx="137">
                  <c:v>6.0098399999999996E-2</c:v>
                </c:pt>
                <c:pt idx="138">
                  <c:v>6.0098399999999996E-2</c:v>
                </c:pt>
                <c:pt idx="139">
                  <c:v>6.0098399999999996E-2</c:v>
                </c:pt>
                <c:pt idx="140">
                  <c:v>6.0098399999999996E-2</c:v>
                </c:pt>
                <c:pt idx="141">
                  <c:v>6.0098399999999996E-2</c:v>
                </c:pt>
                <c:pt idx="142">
                  <c:v>6.0098399999999996E-2</c:v>
                </c:pt>
                <c:pt idx="143">
                  <c:v>6.0098399999999996E-2</c:v>
                </c:pt>
                <c:pt idx="144">
                  <c:v>6.0098399999999996E-2</c:v>
                </c:pt>
                <c:pt idx="145">
                  <c:v>6.0098399999999996E-2</c:v>
                </c:pt>
                <c:pt idx="146">
                  <c:v>6.0098399999999996E-2</c:v>
                </c:pt>
                <c:pt idx="147">
                  <c:v>6.0098399999999996E-2</c:v>
                </c:pt>
                <c:pt idx="148">
                  <c:v>6.0098399999999996E-2</c:v>
                </c:pt>
                <c:pt idx="149">
                  <c:v>6.0098399999999996E-2</c:v>
                </c:pt>
                <c:pt idx="150">
                  <c:v>6.0098399999999996E-2</c:v>
                </c:pt>
                <c:pt idx="151">
                  <c:v>6.0098399999999996E-2</c:v>
                </c:pt>
                <c:pt idx="152">
                  <c:v>6.0098399999999996E-2</c:v>
                </c:pt>
                <c:pt idx="153">
                  <c:v>6.0098399999999996E-2</c:v>
                </c:pt>
                <c:pt idx="154">
                  <c:v>6.0098399999999996E-2</c:v>
                </c:pt>
                <c:pt idx="155">
                  <c:v>6.0098399999999996E-2</c:v>
                </c:pt>
                <c:pt idx="156">
                  <c:v>6.0098399999999996E-2</c:v>
                </c:pt>
                <c:pt idx="157">
                  <c:v>6.0098399999999996E-2</c:v>
                </c:pt>
                <c:pt idx="158">
                  <c:v>6.0098399999999996E-2</c:v>
                </c:pt>
                <c:pt idx="159">
                  <c:v>6.0098399999999996E-2</c:v>
                </c:pt>
                <c:pt idx="160">
                  <c:v>6.0098399999999996E-2</c:v>
                </c:pt>
                <c:pt idx="161">
                  <c:v>6.0098399999999996E-2</c:v>
                </c:pt>
                <c:pt idx="162">
                  <c:v>6.0098399999999996E-2</c:v>
                </c:pt>
                <c:pt idx="163">
                  <c:v>6.0098399999999996E-2</c:v>
                </c:pt>
                <c:pt idx="164">
                  <c:v>6.0098399999999996E-2</c:v>
                </c:pt>
                <c:pt idx="165">
                  <c:v>6.0098399999999996E-2</c:v>
                </c:pt>
                <c:pt idx="166">
                  <c:v>6.0098399999999996E-2</c:v>
                </c:pt>
                <c:pt idx="167">
                  <c:v>6.0098399999999996E-2</c:v>
                </c:pt>
                <c:pt idx="168">
                  <c:v>6.0098399999999996E-2</c:v>
                </c:pt>
                <c:pt idx="169">
                  <c:v>6.0098399999999996E-2</c:v>
                </c:pt>
                <c:pt idx="170">
                  <c:v>6.0098399999999996E-2</c:v>
                </c:pt>
                <c:pt idx="171">
                  <c:v>6.0098399999999996E-2</c:v>
                </c:pt>
                <c:pt idx="172">
                  <c:v>6.0098399999999996E-2</c:v>
                </c:pt>
                <c:pt idx="173">
                  <c:v>6.0098399999999996E-2</c:v>
                </c:pt>
                <c:pt idx="174">
                  <c:v>6.0098399999999996E-2</c:v>
                </c:pt>
                <c:pt idx="175">
                  <c:v>6.0098399999999996E-2</c:v>
                </c:pt>
                <c:pt idx="176">
                  <c:v>6.0098399999999996E-2</c:v>
                </c:pt>
                <c:pt idx="177">
                  <c:v>6.0098399999999996E-2</c:v>
                </c:pt>
                <c:pt idx="178">
                  <c:v>6.0098399999999996E-2</c:v>
                </c:pt>
                <c:pt idx="179">
                  <c:v>6.0098399999999996E-2</c:v>
                </c:pt>
                <c:pt idx="180">
                  <c:v>6.0098399999999996E-2</c:v>
                </c:pt>
                <c:pt idx="181">
                  <c:v>6.0098399999999996E-2</c:v>
                </c:pt>
                <c:pt idx="182">
                  <c:v>6.0098399999999996E-2</c:v>
                </c:pt>
                <c:pt idx="183">
                  <c:v>6.0098399999999996E-2</c:v>
                </c:pt>
                <c:pt idx="184">
                  <c:v>6.0098399999999996E-2</c:v>
                </c:pt>
                <c:pt idx="185">
                  <c:v>6.0098399999999996E-2</c:v>
                </c:pt>
                <c:pt idx="186">
                  <c:v>6.0098399999999996E-2</c:v>
                </c:pt>
                <c:pt idx="187">
                  <c:v>6.0098399999999996E-2</c:v>
                </c:pt>
                <c:pt idx="188">
                  <c:v>6.0098399999999996E-2</c:v>
                </c:pt>
                <c:pt idx="189">
                  <c:v>6.0098399999999996E-2</c:v>
                </c:pt>
                <c:pt idx="190">
                  <c:v>6.0098399999999996E-2</c:v>
                </c:pt>
                <c:pt idx="191">
                  <c:v>6.0098399999999996E-2</c:v>
                </c:pt>
                <c:pt idx="192">
                  <c:v>6.0098399999999996E-2</c:v>
                </c:pt>
                <c:pt idx="193">
                  <c:v>6.0098399999999996E-2</c:v>
                </c:pt>
                <c:pt idx="194">
                  <c:v>6.0098399999999996E-2</c:v>
                </c:pt>
                <c:pt idx="195">
                  <c:v>6.0098399999999996E-2</c:v>
                </c:pt>
                <c:pt idx="196">
                  <c:v>6.0098399999999996E-2</c:v>
                </c:pt>
                <c:pt idx="197">
                  <c:v>6.0098399999999996E-2</c:v>
                </c:pt>
                <c:pt idx="198">
                  <c:v>6.0098399999999996E-2</c:v>
                </c:pt>
                <c:pt idx="199">
                  <c:v>6.0098399999999996E-2</c:v>
                </c:pt>
                <c:pt idx="200">
                  <c:v>6.0098399999999996E-2</c:v>
                </c:pt>
                <c:pt idx="201">
                  <c:v>6.0098399999999996E-2</c:v>
                </c:pt>
                <c:pt idx="202">
                  <c:v>6.0098399999999996E-2</c:v>
                </c:pt>
                <c:pt idx="203">
                  <c:v>6.0098399999999996E-2</c:v>
                </c:pt>
                <c:pt idx="204">
                  <c:v>6.0098399999999996E-2</c:v>
                </c:pt>
                <c:pt idx="205">
                  <c:v>6.0098399999999996E-2</c:v>
                </c:pt>
                <c:pt idx="206">
                  <c:v>6.0098399999999996E-2</c:v>
                </c:pt>
                <c:pt idx="207">
                  <c:v>6.0098399999999996E-2</c:v>
                </c:pt>
                <c:pt idx="208">
                  <c:v>6.0098399999999996E-2</c:v>
                </c:pt>
                <c:pt idx="209">
                  <c:v>6.0098399999999996E-2</c:v>
                </c:pt>
                <c:pt idx="210">
                  <c:v>6.0098399999999996E-2</c:v>
                </c:pt>
                <c:pt idx="211">
                  <c:v>6.0098399999999996E-2</c:v>
                </c:pt>
                <c:pt idx="212">
                  <c:v>6.0098399999999996E-2</c:v>
                </c:pt>
                <c:pt idx="213">
                  <c:v>6.0098399999999996E-2</c:v>
                </c:pt>
                <c:pt idx="214">
                  <c:v>6.0098399999999996E-2</c:v>
                </c:pt>
                <c:pt idx="215">
                  <c:v>6.0098399999999996E-2</c:v>
                </c:pt>
                <c:pt idx="216">
                  <c:v>6.0098399999999996E-2</c:v>
                </c:pt>
                <c:pt idx="217">
                  <c:v>6.0098399999999996E-2</c:v>
                </c:pt>
                <c:pt idx="218">
                  <c:v>6.0098399999999996E-2</c:v>
                </c:pt>
                <c:pt idx="219">
                  <c:v>6.0098399999999996E-2</c:v>
                </c:pt>
                <c:pt idx="220">
                  <c:v>6.0098399999999996E-2</c:v>
                </c:pt>
                <c:pt idx="221">
                  <c:v>6.0098399999999996E-2</c:v>
                </c:pt>
                <c:pt idx="222">
                  <c:v>6.0098399999999996E-2</c:v>
                </c:pt>
                <c:pt idx="223">
                  <c:v>6.0098399999999996E-2</c:v>
                </c:pt>
                <c:pt idx="224">
                  <c:v>6.0098399999999996E-2</c:v>
                </c:pt>
                <c:pt idx="225">
                  <c:v>6.0098399999999996E-2</c:v>
                </c:pt>
                <c:pt idx="226">
                  <c:v>6.0098399999999996E-2</c:v>
                </c:pt>
                <c:pt idx="227">
                  <c:v>6.0098399999999996E-2</c:v>
                </c:pt>
                <c:pt idx="228">
                  <c:v>6.0098399999999996E-2</c:v>
                </c:pt>
                <c:pt idx="229">
                  <c:v>6.0098399999999996E-2</c:v>
                </c:pt>
                <c:pt idx="230">
                  <c:v>6.0098399999999996E-2</c:v>
                </c:pt>
                <c:pt idx="231">
                  <c:v>6.0098399999999996E-2</c:v>
                </c:pt>
                <c:pt idx="232">
                  <c:v>6.0098399999999996E-2</c:v>
                </c:pt>
                <c:pt idx="233">
                  <c:v>6.0098399999999996E-2</c:v>
                </c:pt>
                <c:pt idx="234">
                  <c:v>6.0098399999999996E-2</c:v>
                </c:pt>
                <c:pt idx="235">
                  <c:v>6.0098399999999996E-2</c:v>
                </c:pt>
                <c:pt idx="236">
                  <c:v>6.0098399999999996E-2</c:v>
                </c:pt>
                <c:pt idx="237">
                  <c:v>6.0098399999999996E-2</c:v>
                </c:pt>
                <c:pt idx="238">
                  <c:v>6.0098399999999996E-2</c:v>
                </c:pt>
                <c:pt idx="239">
                  <c:v>6.0098399999999996E-2</c:v>
                </c:pt>
                <c:pt idx="240">
                  <c:v>6.0098399999999996E-2</c:v>
                </c:pt>
                <c:pt idx="241">
                  <c:v>6.0098399999999996E-2</c:v>
                </c:pt>
                <c:pt idx="242">
                  <c:v>6.0098399999999996E-2</c:v>
                </c:pt>
                <c:pt idx="243">
                  <c:v>6.0098399999999996E-2</c:v>
                </c:pt>
                <c:pt idx="244">
                  <c:v>6.0098399999999996E-2</c:v>
                </c:pt>
                <c:pt idx="245">
                  <c:v>6.0098399999999996E-2</c:v>
                </c:pt>
                <c:pt idx="246">
                  <c:v>6.0098399999999996E-2</c:v>
                </c:pt>
                <c:pt idx="247">
                  <c:v>6.0098399999999996E-2</c:v>
                </c:pt>
                <c:pt idx="248">
                  <c:v>6.0098399999999996E-2</c:v>
                </c:pt>
                <c:pt idx="249">
                  <c:v>6.0098399999999996E-2</c:v>
                </c:pt>
                <c:pt idx="250">
                  <c:v>6.0098399999999996E-2</c:v>
                </c:pt>
                <c:pt idx="251">
                  <c:v>6.0098399999999996E-2</c:v>
                </c:pt>
                <c:pt idx="252">
                  <c:v>6.0098399999999996E-2</c:v>
                </c:pt>
                <c:pt idx="253">
                  <c:v>6.0098399999999996E-2</c:v>
                </c:pt>
                <c:pt idx="254">
                  <c:v>6.0098399999999996E-2</c:v>
                </c:pt>
                <c:pt idx="255">
                  <c:v>6.0098399999999996E-2</c:v>
                </c:pt>
                <c:pt idx="256">
                  <c:v>6.0098399999999996E-2</c:v>
                </c:pt>
                <c:pt idx="257">
                  <c:v>6.0098399999999996E-2</c:v>
                </c:pt>
                <c:pt idx="258">
                  <c:v>6.0098399999999996E-2</c:v>
                </c:pt>
                <c:pt idx="259">
                  <c:v>6.0098399999999996E-2</c:v>
                </c:pt>
                <c:pt idx="260">
                  <c:v>6.0098399999999996E-2</c:v>
                </c:pt>
                <c:pt idx="261">
                  <c:v>6.0098399999999996E-2</c:v>
                </c:pt>
                <c:pt idx="262">
                  <c:v>6.0098399999999996E-2</c:v>
                </c:pt>
                <c:pt idx="263">
                  <c:v>6.0098399999999996E-2</c:v>
                </c:pt>
                <c:pt idx="264">
                  <c:v>6.0098399999999996E-2</c:v>
                </c:pt>
                <c:pt idx="265">
                  <c:v>6.0098399999999996E-2</c:v>
                </c:pt>
                <c:pt idx="266">
                  <c:v>6.0098399999999996E-2</c:v>
                </c:pt>
                <c:pt idx="267">
                  <c:v>6.0098399999999996E-2</c:v>
                </c:pt>
                <c:pt idx="268">
                  <c:v>6.0098399999999996E-2</c:v>
                </c:pt>
                <c:pt idx="269">
                  <c:v>6.0098399999999996E-2</c:v>
                </c:pt>
                <c:pt idx="270">
                  <c:v>6.0098399999999996E-2</c:v>
                </c:pt>
                <c:pt idx="271">
                  <c:v>6.0098399999999996E-2</c:v>
                </c:pt>
                <c:pt idx="272">
                  <c:v>6.0098399999999996E-2</c:v>
                </c:pt>
                <c:pt idx="273">
                  <c:v>6.0098399999999996E-2</c:v>
                </c:pt>
                <c:pt idx="274">
                  <c:v>6.0098399999999996E-2</c:v>
                </c:pt>
                <c:pt idx="275">
                  <c:v>6.0098399999999996E-2</c:v>
                </c:pt>
                <c:pt idx="276">
                  <c:v>6.0098399999999996E-2</c:v>
                </c:pt>
                <c:pt idx="277">
                  <c:v>6.0098399999999996E-2</c:v>
                </c:pt>
                <c:pt idx="278">
                  <c:v>6.0098399999999996E-2</c:v>
                </c:pt>
                <c:pt idx="279">
                  <c:v>6.0098399999999996E-2</c:v>
                </c:pt>
                <c:pt idx="280">
                  <c:v>6.0098399999999996E-2</c:v>
                </c:pt>
                <c:pt idx="281">
                  <c:v>6.0098399999999996E-2</c:v>
                </c:pt>
                <c:pt idx="282">
                  <c:v>6.0098399999999996E-2</c:v>
                </c:pt>
                <c:pt idx="283">
                  <c:v>6.0098399999999996E-2</c:v>
                </c:pt>
                <c:pt idx="284">
                  <c:v>6.0098399999999996E-2</c:v>
                </c:pt>
                <c:pt idx="285">
                  <c:v>6.0098399999999996E-2</c:v>
                </c:pt>
                <c:pt idx="286">
                  <c:v>6.0098399999999996E-2</c:v>
                </c:pt>
                <c:pt idx="287">
                  <c:v>6.0098399999999996E-2</c:v>
                </c:pt>
                <c:pt idx="288">
                  <c:v>6.0098399999999996E-2</c:v>
                </c:pt>
                <c:pt idx="289">
                  <c:v>6.0098399999999996E-2</c:v>
                </c:pt>
                <c:pt idx="290">
                  <c:v>6.0098399999999996E-2</c:v>
                </c:pt>
                <c:pt idx="291">
                  <c:v>6.0098399999999996E-2</c:v>
                </c:pt>
                <c:pt idx="292">
                  <c:v>6.0098399999999996E-2</c:v>
                </c:pt>
                <c:pt idx="293">
                  <c:v>6.0098399999999996E-2</c:v>
                </c:pt>
                <c:pt idx="294">
                  <c:v>6.0098399999999996E-2</c:v>
                </c:pt>
                <c:pt idx="295">
                  <c:v>6.0098399999999996E-2</c:v>
                </c:pt>
                <c:pt idx="296">
                  <c:v>6.0098399999999996E-2</c:v>
                </c:pt>
                <c:pt idx="297">
                  <c:v>6.0098399999999996E-2</c:v>
                </c:pt>
                <c:pt idx="298">
                  <c:v>6.0098399999999996E-2</c:v>
                </c:pt>
                <c:pt idx="299">
                  <c:v>6.0098399999999996E-2</c:v>
                </c:pt>
                <c:pt idx="300">
                  <c:v>6.0098399999999996E-2</c:v>
                </c:pt>
                <c:pt idx="301">
                  <c:v>6.0098399999999996E-2</c:v>
                </c:pt>
                <c:pt idx="302">
                  <c:v>6.0098399999999996E-2</c:v>
                </c:pt>
                <c:pt idx="303">
                  <c:v>6.0098399999999996E-2</c:v>
                </c:pt>
                <c:pt idx="304">
                  <c:v>6.0098399999999996E-2</c:v>
                </c:pt>
                <c:pt idx="305">
                  <c:v>6.0098399999999996E-2</c:v>
                </c:pt>
                <c:pt idx="306">
                  <c:v>6.0098399999999996E-2</c:v>
                </c:pt>
                <c:pt idx="307">
                  <c:v>6.0098399999999996E-2</c:v>
                </c:pt>
                <c:pt idx="308">
                  <c:v>6.0098399999999996E-2</c:v>
                </c:pt>
                <c:pt idx="309">
                  <c:v>6.0098399999999996E-2</c:v>
                </c:pt>
                <c:pt idx="310">
                  <c:v>6.0098399999999996E-2</c:v>
                </c:pt>
                <c:pt idx="311">
                  <c:v>6.0098399999999996E-2</c:v>
                </c:pt>
                <c:pt idx="312">
                  <c:v>6.0098399999999996E-2</c:v>
                </c:pt>
                <c:pt idx="313">
                  <c:v>6.0098399999999996E-2</c:v>
                </c:pt>
                <c:pt idx="314">
                  <c:v>6.0098399999999996E-2</c:v>
                </c:pt>
                <c:pt idx="315">
                  <c:v>6.0098399999999996E-2</c:v>
                </c:pt>
                <c:pt idx="316">
                  <c:v>6.0098399999999996E-2</c:v>
                </c:pt>
                <c:pt idx="317">
                  <c:v>6.0098399999999996E-2</c:v>
                </c:pt>
                <c:pt idx="318">
                  <c:v>6.0098399999999996E-2</c:v>
                </c:pt>
                <c:pt idx="319">
                  <c:v>6.0098399999999996E-2</c:v>
                </c:pt>
                <c:pt idx="320">
                  <c:v>6.0098399999999996E-2</c:v>
                </c:pt>
                <c:pt idx="321">
                  <c:v>6.0098399999999996E-2</c:v>
                </c:pt>
                <c:pt idx="322">
                  <c:v>6.0098399999999996E-2</c:v>
                </c:pt>
                <c:pt idx="323">
                  <c:v>6.0098399999999996E-2</c:v>
                </c:pt>
                <c:pt idx="324">
                  <c:v>6.0098399999999996E-2</c:v>
                </c:pt>
                <c:pt idx="325">
                  <c:v>6.0098399999999996E-2</c:v>
                </c:pt>
                <c:pt idx="326">
                  <c:v>6.0098399999999996E-2</c:v>
                </c:pt>
                <c:pt idx="327">
                  <c:v>6.0098399999999996E-2</c:v>
                </c:pt>
                <c:pt idx="328">
                  <c:v>6.0098399999999996E-2</c:v>
                </c:pt>
                <c:pt idx="329">
                  <c:v>6.0098399999999996E-2</c:v>
                </c:pt>
                <c:pt idx="330">
                  <c:v>6.0098399999999996E-2</c:v>
                </c:pt>
                <c:pt idx="331">
                  <c:v>6.0098399999999996E-2</c:v>
                </c:pt>
                <c:pt idx="332">
                  <c:v>6.0098399999999996E-2</c:v>
                </c:pt>
                <c:pt idx="333">
                  <c:v>6.0098399999999996E-2</c:v>
                </c:pt>
                <c:pt idx="334">
                  <c:v>6.0098399999999996E-2</c:v>
                </c:pt>
                <c:pt idx="335">
                  <c:v>6.0098399999999996E-2</c:v>
                </c:pt>
                <c:pt idx="336">
                  <c:v>6.0098399999999996E-2</c:v>
                </c:pt>
                <c:pt idx="337">
                  <c:v>6.0098399999999996E-2</c:v>
                </c:pt>
                <c:pt idx="338">
                  <c:v>6.0098399999999996E-2</c:v>
                </c:pt>
                <c:pt idx="339">
                  <c:v>6.0098399999999996E-2</c:v>
                </c:pt>
                <c:pt idx="340">
                  <c:v>6.0098399999999996E-2</c:v>
                </c:pt>
                <c:pt idx="341">
                  <c:v>6.0098399999999996E-2</c:v>
                </c:pt>
                <c:pt idx="342">
                  <c:v>6.0098399999999996E-2</c:v>
                </c:pt>
                <c:pt idx="343">
                  <c:v>6.0098399999999996E-2</c:v>
                </c:pt>
                <c:pt idx="344">
                  <c:v>6.0098399999999996E-2</c:v>
                </c:pt>
                <c:pt idx="345">
                  <c:v>6.0098399999999996E-2</c:v>
                </c:pt>
                <c:pt idx="346">
                  <c:v>6.0098399999999996E-2</c:v>
                </c:pt>
                <c:pt idx="347">
                  <c:v>6.0098399999999996E-2</c:v>
                </c:pt>
                <c:pt idx="348">
                  <c:v>6.0098399999999996E-2</c:v>
                </c:pt>
                <c:pt idx="349">
                  <c:v>6.0098399999999996E-2</c:v>
                </c:pt>
                <c:pt idx="350">
                  <c:v>6.0098399999999996E-2</c:v>
                </c:pt>
                <c:pt idx="351">
                  <c:v>6.0098399999999996E-2</c:v>
                </c:pt>
                <c:pt idx="352">
                  <c:v>6.0098399999999996E-2</c:v>
                </c:pt>
                <c:pt idx="353">
                  <c:v>6.0098399999999996E-2</c:v>
                </c:pt>
                <c:pt idx="354">
                  <c:v>6.0098399999999996E-2</c:v>
                </c:pt>
                <c:pt idx="355">
                  <c:v>6.0098399999999996E-2</c:v>
                </c:pt>
                <c:pt idx="356">
                  <c:v>6.0098399999999996E-2</c:v>
                </c:pt>
                <c:pt idx="357">
                  <c:v>6.0098399999999996E-2</c:v>
                </c:pt>
                <c:pt idx="358">
                  <c:v>6.0098399999999996E-2</c:v>
                </c:pt>
                <c:pt idx="359">
                  <c:v>6.0098399999999996E-2</c:v>
                </c:pt>
                <c:pt idx="360">
                  <c:v>6.0098399999999996E-2</c:v>
                </c:pt>
                <c:pt idx="361">
                  <c:v>6.0098399999999996E-2</c:v>
                </c:pt>
                <c:pt idx="362">
                  <c:v>6.0098399999999996E-2</c:v>
                </c:pt>
                <c:pt idx="363">
                  <c:v>6.0098399999999996E-2</c:v>
                </c:pt>
                <c:pt idx="364">
                  <c:v>6.0098399999999996E-2</c:v>
                </c:pt>
                <c:pt idx="365">
                  <c:v>6.0098399999999996E-2</c:v>
                </c:pt>
                <c:pt idx="366">
                  <c:v>6.0098399999999996E-2</c:v>
                </c:pt>
                <c:pt idx="367">
                  <c:v>6.0098399999999996E-2</c:v>
                </c:pt>
                <c:pt idx="368">
                  <c:v>6.0098399999999996E-2</c:v>
                </c:pt>
                <c:pt idx="369">
                  <c:v>6.0098399999999996E-2</c:v>
                </c:pt>
                <c:pt idx="370">
                  <c:v>6.0098399999999996E-2</c:v>
                </c:pt>
                <c:pt idx="371">
                  <c:v>6.0098399999999996E-2</c:v>
                </c:pt>
                <c:pt idx="372">
                  <c:v>6.0098399999999996E-2</c:v>
                </c:pt>
                <c:pt idx="373">
                  <c:v>6.0098399999999996E-2</c:v>
                </c:pt>
                <c:pt idx="374">
                  <c:v>6.0098399999999996E-2</c:v>
                </c:pt>
                <c:pt idx="375">
                  <c:v>6.0098399999999996E-2</c:v>
                </c:pt>
                <c:pt idx="376">
                  <c:v>6.0098399999999996E-2</c:v>
                </c:pt>
                <c:pt idx="377">
                  <c:v>6.0098399999999996E-2</c:v>
                </c:pt>
                <c:pt idx="378">
                  <c:v>6.0098399999999996E-2</c:v>
                </c:pt>
                <c:pt idx="379">
                  <c:v>6.0098399999999996E-2</c:v>
                </c:pt>
                <c:pt idx="380">
                  <c:v>6.0098399999999996E-2</c:v>
                </c:pt>
                <c:pt idx="381">
                  <c:v>6.0098399999999996E-2</c:v>
                </c:pt>
                <c:pt idx="382">
                  <c:v>6.0098399999999996E-2</c:v>
                </c:pt>
                <c:pt idx="383">
                  <c:v>6.0098399999999996E-2</c:v>
                </c:pt>
                <c:pt idx="384">
                  <c:v>6.0098399999999996E-2</c:v>
                </c:pt>
                <c:pt idx="385">
                  <c:v>6.0098399999999996E-2</c:v>
                </c:pt>
                <c:pt idx="386">
                  <c:v>6.0098399999999996E-2</c:v>
                </c:pt>
                <c:pt idx="387">
                  <c:v>6.0098399999999996E-2</c:v>
                </c:pt>
                <c:pt idx="388">
                  <c:v>6.0098399999999996E-2</c:v>
                </c:pt>
                <c:pt idx="389">
                  <c:v>6.0098399999999996E-2</c:v>
                </c:pt>
                <c:pt idx="390">
                  <c:v>6.0098399999999996E-2</c:v>
                </c:pt>
                <c:pt idx="391">
                  <c:v>6.0098399999999996E-2</c:v>
                </c:pt>
                <c:pt idx="392">
                  <c:v>6.0098399999999996E-2</c:v>
                </c:pt>
                <c:pt idx="393">
                  <c:v>6.0098399999999996E-2</c:v>
                </c:pt>
                <c:pt idx="394">
                  <c:v>6.0098399999999996E-2</c:v>
                </c:pt>
                <c:pt idx="395">
                  <c:v>6.0098399999999996E-2</c:v>
                </c:pt>
                <c:pt idx="396">
                  <c:v>6.0098399999999996E-2</c:v>
                </c:pt>
              </c:numCache>
            </c:numRef>
          </c:val>
          <c:smooth val="0"/>
          <c:extLst>
            <c:ext xmlns:c16="http://schemas.microsoft.com/office/drawing/2014/chart" uri="{C3380CC4-5D6E-409C-BE32-E72D297353CC}">
              <c16:uniqueId val="{00000004-3298-4AFE-9546-33D707467B25}"/>
            </c:ext>
          </c:extLst>
        </c:ser>
        <c:ser>
          <c:idx val="4"/>
          <c:order val="4"/>
          <c:tx>
            <c:strRef>
              <c:f>Sheet15!$F$2</c:f>
              <c:strCache>
                <c:ptCount val="1"/>
                <c:pt idx="0">
                  <c:v>Equities</c:v>
                </c:pt>
              </c:strCache>
            </c:strRef>
          </c:tx>
          <c:spPr>
            <a:ln w="28575" cap="rnd">
              <a:solidFill>
                <a:schemeClr val="accent1"/>
              </a:solidFill>
              <a:prstDash val="dash"/>
              <a:round/>
            </a:ln>
            <a:effectLst/>
          </c:spPr>
          <c:marker>
            <c:symbol val="none"/>
          </c:marker>
          <c:dLbls>
            <c:dLbl>
              <c:idx val="201"/>
              <c:layout>
                <c:manualLayout>
                  <c:x val="-2.9606970710435925E-2"/>
                  <c:y val="-2.47687222023253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298-4AFE-9546-33D707467B2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5!$A$3:$A$495</c:f>
              <c:numCache>
                <c:formatCode>mmm\-yy</c:formatCode>
                <c:ptCount val="397"/>
                <c:pt idx="0">
                  <c:v>33239</c:v>
                </c:pt>
                <c:pt idx="1">
                  <c:v>33270</c:v>
                </c:pt>
                <c:pt idx="2">
                  <c:v>33298</c:v>
                </c:pt>
                <c:pt idx="3">
                  <c:v>33329</c:v>
                </c:pt>
                <c:pt idx="4">
                  <c:v>33359</c:v>
                </c:pt>
                <c:pt idx="5">
                  <c:v>33390</c:v>
                </c:pt>
                <c:pt idx="6">
                  <c:v>33420</c:v>
                </c:pt>
                <c:pt idx="7">
                  <c:v>33451</c:v>
                </c:pt>
                <c:pt idx="8">
                  <c:v>33482</c:v>
                </c:pt>
                <c:pt idx="9">
                  <c:v>33512</c:v>
                </c:pt>
                <c:pt idx="10">
                  <c:v>33543</c:v>
                </c:pt>
                <c:pt idx="11">
                  <c:v>33573</c:v>
                </c:pt>
                <c:pt idx="12">
                  <c:v>33604</c:v>
                </c:pt>
                <c:pt idx="13">
                  <c:v>33635</c:v>
                </c:pt>
                <c:pt idx="14">
                  <c:v>33664</c:v>
                </c:pt>
                <c:pt idx="15">
                  <c:v>33695</c:v>
                </c:pt>
                <c:pt idx="16">
                  <c:v>33725</c:v>
                </c:pt>
                <c:pt idx="17">
                  <c:v>33756</c:v>
                </c:pt>
                <c:pt idx="18">
                  <c:v>33786</c:v>
                </c:pt>
                <c:pt idx="19">
                  <c:v>33817</c:v>
                </c:pt>
                <c:pt idx="20">
                  <c:v>33848</c:v>
                </c:pt>
                <c:pt idx="21">
                  <c:v>33878</c:v>
                </c:pt>
                <c:pt idx="22">
                  <c:v>33909</c:v>
                </c:pt>
                <c:pt idx="23">
                  <c:v>33939</c:v>
                </c:pt>
                <c:pt idx="24">
                  <c:v>33970</c:v>
                </c:pt>
                <c:pt idx="25">
                  <c:v>34001</c:v>
                </c:pt>
                <c:pt idx="26">
                  <c:v>34029</c:v>
                </c:pt>
                <c:pt idx="27">
                  <c:v>34060</c:v>
                </c:pt>
                <c:pt idx="28">
                  <c:v>34090</c:v>
                </c:pt>
                <c:pt idx="29">
                  <c:v>34121</c:v>
                </c:pt>
                <c:pt idx="30">
                  <c:v>34151</c:v>
                </c:pt>
                <c:pt idx="31">
                  <c:v>34182</c:v>
                </c:pt>
                <c:pt idx="32">
                  <c:v>34213</c:v>
                </c:pt>
                <c:pt idx="33">
                  <c:v>34243</c:v>
                </c:pt>
                <c:pt idx="34">
                  <c:v>34274</c:v>
                </c:pt>
                <c:pt idx="35">
                  <c:v>34304</c:v>
                </c:pt>
                <c:pt idx="36">
                  <c:v>34335</c:v>
                </c:pt>
                <c:pt idx="37">
                  <c:v>34366</c:v>
                </c:pt>
                <c:pt idx="38">
                  <c:v>34394</c:v>
                </c:pt>
                <c:pt idx="39">
                  <c:v>34425</c:v>
                </c:pt>
                <c:pt idx="40">
                  <c:v>34455</c:v>
                </c:pt>
                <c:pt idx="41">
                  <c:v>34486</c:v>
                </c:pt>
                <c:pt idx="42">
                  <c:v>34516</c:v>
                </c:pt>
                <c:pt idx="43">
                  <c:v>34547</c:v>
                </c:pt>
                <c:pt idx="44">
                  <c:v>34578</c:v>
                </c:pt>
                <c:pt idx="45">
                  <c:v>34608</c:v>
                </c:pt>
                <c:pt idx="46">
                  <c:v>34639</c:v>
                </c:pt>
                <c:pt idx="47">
                  <c:v>34669</c:v>
                </c:pt>
                <c:pt idx="48">
                  <c:v>34700</c:v>
                </c:pt>
                <c:pt idx="49">
                  <c:v>34731</c:v>
                </c:pt>
                <c:pt idx="50">
                  <c:v>34759</c:v>
                </c:pt>
                <c:pt idx="51">
                  <c:v>34790</c:v>
                </c:pt>
                <c:pt idx="52">
                  <c:v>34820</c:v>
                </c:pt>
                <c:pt idx="53">
                  <c:v>34851</c:v>
                </c:pt>
                <c:pt idx="54">
                  <c:v>34881</c:v>
                </c:pt>
                <c:pt idx="55">
                  <c:v>34912</c:v>
                </c:pt>
                <c:pt idx="56">
                  <c:v>34943</c:v>
                </c:pt>
                <c:pt idx="57">
                  <c:v>34973</c:v>
                </c:pt>
                <c:pt idx="58">
                  <c:v>35004</c:v>
                </c:pt>
                <c:pt idx="59">
                  <c:v>35034</c:v>
                </c:pt>
                <c:pt idx="60">
                  <c:v>35065</c:v>
                </c:pt>
                <c:pt idx="61">
                  <c:v>35096</c:v>
                </c:pt>
                <c:pt idx="62">
                  <c:v>35125</c:v>
                </c:pt>
                <c:pt idx="63">
                  <c:v>35156</c:v>
                </c:pt>
                <c:pt idx="64">
                  <c:v>35186</c:v>
                </c:pt>
                <c:pt idx="65">
                  <c:v>35217</c:v>
                </c:pt>
                <c:pt idx="66">
                  <c:v>35247</c:v>
                </c:pt>
                <c:pt idx="67">
                  <c:v>35278</c:v>
                </c:pt>
                <c:pt idx="68">
                  <c:v>35309</c:v>
                </c:pt>
                <c:pt idx="69">
                  <c:v>35339</c:v>
                </c:pt>
                <c:pt idx="70">
                  <c:v>35370</c:v>
                </c:pt>
                <c:pt idx="71">
                  <c:v>35400</c:v>
                </c:pt>
                <c:pt idx="72">
                  <c:v>35431</c:v>
                </c:pt>
                <c:pt idx="73">
                  <c:v>35462</c:v>
                </c:pt>
                <c:pt idx="74">
                  <c:v>35490</c:v>
                </c:pt>
                <c:pt idx="75">
                  <c:v>35521</c:v>
                </c:pt>
                <c:pt idx="76">
                  <c:v>35551</c:v>
                </c:pt>
                <c:pt idx="77">
                  <c:v>35582</c:v>
                </c:pt>
                <c:pt idx="78">
                  <c:v>35612</c:v>
                </c:pt>
                <c:pt idx="79">
                  <c:v>35643</c:v>
                </c:pt>
                <c:pt idx="80">
                  <c:v>35674</c:v>
                </c:pt>
                <c:pt idx="81">
                  <c:v>35704</c:v>
                </c:pt>
                <c:pt idx="82">
                  <c:v>35735</c:v>
                </c:pt>
                <c:pt idx="83">
                  <c:v>35765</c:v>
                </c:pt>
                <c:pt idx="84">
                  <c:v>35796</c:v>
                </c:pt>
                <c:pt idx="85">
                  <c:v>35827</c:v>
                </c:pt>
                <c:pt idx="86">
                  <c:v>35855</c:v>
                </c:pt>
                <c:pt idx="87">
                  <c:v>35886</c:v>
                </c:pt>
                <c:pt idx="88">
                  <c:v>35916</c:v>
                </c:pt>
                <c:pt idx="89">
                  <c:v>35947</c:v>
                </c:pt>
                <c:pt idx="90">
                  <c:v>35977</c:v>
                </c:pt>
                <c:pt idx="91">
                  <c:v>36008</c:v>
                </c:pt>
                <c:pt idx="92">
                  <c:v>36039</c:v>
                </c:pt>
                <c:pt idx="93">
                  <c:v>36069</c:v>
                </c:pt>
                <c:pt idx="94">
                  <c:v>36100</c:v>
                </c:pt>
                <c:pt idx="95">
                  <c:v>36130</c:v>
                </c:pt>
                <c:pt idx="96">
                  <c:v>36161</c:v>
                </c:pt>
                <c:pt idx="97">
                  <c:v>36192</c:v>
                </c:pt>
                <c:pt idx="98">
                  <c:v>36220</c:v>
                </c:pt>
                <c:pt idx="99">
                  <c:v>36251</c:v>
                </c:pt>
                <c:pt idx="100">
                  <c:v>36281</c:v>
                </c:pt>
                <c:pt idx="101">
                  <c:v>36312</c:v>
                </c:pt>
                <c:pt idx="102">
                  <c:v>36342</c:v>
                </c:pt>
                <c:pt idx="103">
                  <c:v>36373</c:v>
                </c:pt>
                <c:pt idx="104">
                  <c:v>36404</c:v>
                </c:pt>
                <c:pt idx="105">
                  <c:v>36434</c:v>
                </c:pt>
                <c:pt idx="106">
                  <c:v>36465</c:v>
                </c:pt>
                <c:pt idx="107">
                  <c:v>36495</c:v>
                </c:pt>
                <c:pt idx="108">
                  <c:v>36526</c:v>
                </c:pt>
                <c:pt idx="109">
                  <c:v>36557</c:v>
                </c:pt>
                <c:pt idx="110">
                  <c:v>36586</c:v>
                </c:pt>
                <c:pt idx="111">
                  <c:v>36617</c:v>
                </c:pt>
                <c:pt idx="112">
                  <c:v>36647</c:v>
                </c:pt>
                <c:pt idx="113">
                  <c:v>36678</c:v>
                </c:pt>
                <c:pt idx="114">
                  <c:v>36708</c:v>
                </c:pt>
                <c:pt idx="115">
                  <c:v>36739</c:v>
                </c:pt>
                <c:pt idx="116">
                  <c:v>36770</c:v>
                </c:pt>
                <c:pt idx="117">
                  <c:v>36800</c:v>
                </c:pt>
                <c:pt idx="118">
                  <c:v>36831</c:v>
                </c:pt>
                <c:pt idx="119">
                  <c:v>36861</c:v>
                </c:pt>
                <c:pt idx="120">
                  <c:v>36892</c:v>
                </c:pt>
                <c:pt idx="121">
                  <c:v>36923</c:v>
                </c:pt>
                <c:pt idx="122">
                  <c:v>36951</c:v>
                </c:pt>
                <c:pt idx="123">
                  <c:v>36982</c:v>
                </c:pt>
                <c:pt idx="124">
                  <c:v>37012</c:v>
                </c:pt>
                <c:pt idx="125">
                  <c:v>37043</c:v>
                </c:pt>
                <c:pt idx="126">
                  <c:v>37073</c:v>
                </c:pt>
                <c:pt idx="127">
                  <c:v>37104</c:v>
                </c:pt>
                <c:pt idx="128">
                  <c:v>37135</c:v>
                </c:pt>
                <c:pt idx="129">
                  <c:v>37165</c:v>
                </c:pt>
                <c:pt idx="130">
                  <c:v>37196</c:v>
                </c:pt>
                <c:pt idx="131">
                  <c:v>37226</c:v>
                </c:pt>
                <c:pt idx="132">
                  <c:v>37257</c:v>
                </c:pt>
                <c:pt idx="133">
                  <c:v>37288</c:v>
                </c:pt>
                <c:pt idx="134">
                  <c:v>37316</c:v>
                </c:pt>
                <c:pt idx="135">
                  <c:v>37347</c:v>
                </c:pt>
                <c:pt idx="136">
                  <c:v>37377</c:v>
                </c:pt>
                <c:pt idx="137">
                  <c:v>37408</c:v>
                </c:pt>
                <c:pt idx="138">
                  <c:v>37438</c:v>
                </c:pt>
                <c:pt idx="139">
                  <c:v>37469</c:v>
                </c:pt>
                <c:pt idx="140">
                  <c:v>37500</c:v>
                </c:pt>
                <c:pt idx="141">
                  <c:v>37530</c:v>
                </c:pt>
                <c:pt idx="142">
                  <c:v>37561</c:v>
                </c:pt>
                <c:pt idx="143">
                  <c:v>37591</c:v>
                </c:pt>
                <c:pt idx="144">
                  <c:v>37622</c:v>
                </c:pt>
                <c:pt idx="145">
                  <c:v>37653</c:v>
                </c:pt>
                <c:pt idx="146">
                  <c:v>37681</c:v>
                </c:pt>
                <c:pt idx="147">
                  <c:v>37712</c:v>
                </c:pt>
                <c:pt idx="148">
                  <c:v>37742</c:v>
                </c:pt>
                <c:pt idx="149">
                  <c:v>37773</c:v>
                </c:pt>
                <c:pt idx="150">
                  <c:v>37803</c:v>
                </c:pt>
                <c:pt idx="151">
                  <c:v>37834</c:v>
                </c:pt>
                <c:pt idx="152">
                  <c:v>37865</c:v>
                </c:pt>
                <c:pt idx="153">
                  <c:v>37895</c:v>
                </c:pt>
                <c:pt idx="154">
                  <c:v>37926</c:v>
                </c:pt>
                <c:pt idx="155">
                  <c:v>37956</c:v>
                </c:pt>
                <c:pt idx="156">
                  <c:v>37987</c:v>
                </c:pt>
                <c:pt idx="157">
                  <c:v>38018</c:v>
                </c:pt>
                <c:pt idx="158">
                  <c:v>38047</c:v>
                </c:pt>
                <c:pt idx="159">
                  <c:v>38078</c:v>
                </c:pt>
                <c:pt idx="160">
                  <c:v>38108</c:v>
                </c:pt>
                <c:pt idx="161">
                  <c:v>38139</c:v>
                </c:pt>
                <c:pt idx="162">
                  <c:v>38169</c:v>
                </c:pt>
                <c:pt idx="163">
                  <c:v>38200</c:v>
                </c:pt>
                <c:pt idx="164">
                  <c:v>38231</c:v>
                </c:pt>
                <c:pt idx="165">
                  <c:v>38261</c:v>
                </c:pt>
                <c:pt idx="166">
                  <c:v>38292</c:v>
                </c:pt>
                <c:pt idx="167">
                  <c:v>38322</c:v>
                </c:pt>
                <c:pt idx="168">
                  <c:v>38353</c:v>
                </c:pt>
                <c:pt idx="169">
                  <c:v>38384</c:v>
                </c:pt>
                <c:pt idx="170">
                  <c:v>38412</c:v>
                </c:pt>
                <c:pt idx="171">
                  <c:v>38443</c:v>
                </c:pt>
                <c:pt idx="172">
                  <c:v>38473</c:v>
                </c:pt>
                <c:pt idx="173">
                  <c:v>38504</c:v>
                </c:pt>
                <c:pt idx="174">
                  <c:v>38534</c:v>
                </c:pt>
                <c:pt idx="175">
                  <c:v>38565</c:v>
                </c:pt>
                <c:pt idx="176">
                  <c:v>38596</c:v>
                </c:pt>
                <c:pt idx="177">
                  <c:v>38626</c:v>
                </c:pt>
                <c:pt idx="178">
                  <c:v>38657</c:v>
                </c:pt>
                <c:pt idx="179">
                  <c:v>38687</c:v>
                </c:pt>
                <c:pt idx="180">
                  <c:v>38718</c:v>
                </c:pt>
                <c:pt idx="181">
                  <c:v>38749</c:v>
                </c:pt>
                <c:pt idx="182">
                  <c:v>38777</c:v>
                </c:pt>
                <c:pt idx="183">
                  <c:v>38808</c:v>
                </c:pt>
                <c:pt idx="184">
                  <c:v>38838</c:v>
                </c:pt>
                <c:pt idx="185">
                  <c:v>38869</c:v>
                </c:pt>
                <c:pt idx="186">
                  <c:v>38899</c:v>
                </c:pt>
                <c:pt idx="187">
                  <c:v>38930</c:v>
                </c:pt>
                <c:pt idx="188">
                  <c:v>38961</c:v>
                </c:pt>
                <c:pt idx="189">
                  <c:v>38991</c:v>
                </c:pt>
                <c:pt idx="190">
                  <c:v>39022</c:v>
                </c:pt>
                <c:pt idx="191">
                  <c:v>39052</c:v>
                </c:pt>
                <c:pt idx="192">
                  <c:v>39083</c:v>
                </c:pt>
                <c:pt idx="193">
                  <c:v>39114</c:v>
                </c:pt>
                <c:pt idx="194">
                  <c:v>39142</c:v>
                </c:pt>
                <c:pt idx="195">
                  <c:v>39173</c:v>
                </c:pt>
                <c:pt idx="196">
                  <c:v>39203</c:v>
                </c:pt>
                <c:pt idx="197">
                  <c:v>39234</c:v>
                </c:pt>
                <c:pt idx="198">
                  <c:v>39264</c:v>
                </c:pt>
                <c:pt idx="199">
                  <c:v>39295</c:v>
                </c:pt>
                <c:pt idx="200">
                  <c:v>39326</c:v>
                </c:pt>
                <c:pt idx="201">
                  <c:v>39356</c:v>
                </c:pt>
                <c:pt idx="202">
                  <c:v>39387</c:v>
                </c:pt>
                <c:pt idx="203">
                  <c:v>39417</c:v>
                </c:pt>
                <c:pt idx="204">
                  <c:v>39448</c:v>
                </c:pt>
                <c:pt idx="205">
                  <c:v>39479</c:v>
                </c:pt>
                <c:pt idx="206">
                  <c:v>39508</c:v>
                </c:pt>
                <c:pt idx="207">
                  <c:v>39539</c:v>
                </c:pt>
                <c:pt idx="208">
                  <c:v>39569</c:v>
                </c:pt>
                <c:pt idx="209">
                  <c:v>39600</c:v>
                </c:pt>
                <c:pt idx="210">
                  <c:v>39630</c:v>
                </c:pt>
                <c:pt idx="211">
                  <c:v>39661</c:v>
                </c:pt>
                <c:pt idx="212">
                  <c:v>39692</c:v>
                </c:pt>
                <c:pt idx="213">
                  <c:v>39722</c:v>
                </c:pt>
                <c:pt idx="214">
                  <c:v>39753</c:v>
                </c:pt>
                <c:pt idx="215">
                  <c:v>39783</c:v>
                </c:pt>
                <c:pt idx="216">
                  <c:v>39814</c:v>
                </c:pt>
                <c:pt idx="217">
                  <c:v>39845</c:v>
                </c:pt>
                <c:pt idx="218">
                  <c:v>39873</c:v>
                </c:pt>
                <c:pt idx="219">
                  <c:v>39904</c:v>
                </c:pt>
                <c:pt idx="220">
                  <c:v>39934</c:v>
                </c:pt>
                <c:pt idx="221">
                  <c:v>39965</c:v>
                </c:pt>
                <c:pt idx="222">
                  <c:v>39995</c:v>
                </c:pt>
                <c:pt idx="223">
                  <c:v>40026</c:v>
                </c:pt>
                <c:pt idx="224">
                  <c:v>40057</c:v>
                </c:pt>
                <c:pt idx="225">
                  <c:v>40087</c:v>
                </c:pt>
                <c:pt idx="226">
                  <c:v>40118</c:v>
                </c:pt>
                <c:pt idx="227">
                  <c:v>40148</c:v>
                </c:pt>
                <c:pt idx="228">
                  <c:v>40179</c:v>
                </c:pt>
                <c:pt idx="229">
                  <c:v>40210</c:v>
                </c:pt>
                <c:pt idx="230">
                  <c:v>40238</c:v>
                </c:pt>
                <c:pt idx="231">
                  <c:v>40269</c:v>
                </c:pt>
                <c:pt idx="232">
                  <c:v>40299</c:v>
                </c:pt>
                <c:pt idx="233">
                  <c:v>40330</c:v>
                </c:pt>
                <c:pt idx="234">
                  <c:v>40360</c:v>
                </c:pt>
                <c:pt idx="235">
                  <c:v>40391</c:v>
                </c:pt>
                <c:pt idx="236">
                  <c:v>40422</c:v>
                </c:pt>
                <c:pt idx="237">
                  <c:v>40452</c:v>
                </c:pt>
                <c:pt idx="238">
                  <c:v>40483</c:v>
                </c:pt>
                <c:pt idx="239">
                  <c:v>40513</c:v>
                </c:pt>
                <c:pt idx="240">
                  <c:v>40544</c:v>
                </c:pt>
                <c:pt idx="241">
                  <c:v>40575</c:v>
                </c:pt>
                <c:pt idx="242">
                  <c:v>40603</c:v>
                </c:pt>
                <c:pt idx="243">
                  <c:v>40634</c:v>
                </c:pt>
                <c:pt idx="244">
                  <c:v>40664</c:v>
                </c:pt>
                <c:pt idx="245">
                  <c:v>40695</c:v>
                </c:pt>
                <c:pt idx="246">
                  <c:v>40725</c:v>
                </c:pt>
                <c:pt idx="247">
                  <c:v>40756</c:v>
                </c:pt>
                <c:pt idx="248">
                  <c:v>40787</c:v>
                </c:pt>
                <c:pt idx="249">
                  <c:v>40817</c:v>
                </c:pt>
                <c:pt idx="250">
                  <c:v>40848</c:v>
                </c:pt>
                <c:pt idx="251">
                  <c:v>40878</c:v>
                </c:pt>
                <c:pt idx="252">
                  <c:v>40909</c:v>
                </c:pt>
                <c:pt idx="253">
                  <c:v>40940</c:v>
                </c:pt>
                <c:pt idx="254">
                  <c:v>40969</c:v>
                </c:pt>
                <c:pt idx="255">
                  <c:v>41000</c:v>
                </c:pt>
                <c:pt idx="256">
                  <c:v>41030</c:v>
                </c:pt>
                <c:pt idx="257">
                  <c:v>41061</c:v>
                </c:pt>
                <c:pt idx="258">
                  <c:v>41091</c:v>
                </c:pt>
                <c:pt idx="259">
                  <c:v>41122</c:v>
                </c:pt>
                <c:pt idx="260">
                  <c:v>41153</c:v>
                </c:pt>
                <c:pt idx="261">
                  <c:v>41183</c:v>
                </c:pt>
                <c:pt idx="262">
                  <c:v>41214</c:v>
                </c:pt>
                <c:pt idx="263">
                  <c:v>41244</c:v>
                </c:pt>
                <c:pt idx="264">
                  <c:v>41275</c:v>
                </c:pt>
                <c:pt idx="265">
                  <c:v>41306</c:v>
                </c:pt>
                <c:pt idx="266">
                  <c:v>41334</c:v>
                </c:pt>
                <c:pt idx="267">
                  <c:v>41365</c:v>
                </c:pt>
                <c:pt idx="268">
                  <c:v>41395</c:v>
                </c:pt>
                <c:pt idx="269">
                  <c:v>41426</c:v>
                </c:pt>
                <c:pt idx="270">
                  <c:v>41456</c:v>
                </c:pt>
                <c:pt idx="271">
                  <c:v>41487</c:v>
                </c:pt>
                <c:pt idx="272">
                  <c:v>41518</c:v>
                </c:pt>
                <c:pt idx="273">
                  <c:v>41548</c:v>
                </c:pt>
                <c:pt idx="274">
                  <c:v>41579</c:v>
                </c:pt>
                <c:pt idx="275">
                  <c:v>41609</c:v>
                </c:pt>
                <c:pt idx="276">
                  <c:v>41640</c:v>
                </c:pt>
                <c:pt idx="277">
                  <c:v>41671</c:v>
                </c:pt>
                <c:pt idx="278">
                  <c:v>41699</c:v>
                </c:pt>
                <c:pt idx="279">
                  <c:v>41730</c:v>
                </c:pt>
                <c:pt idx="280">
                  <c:v>41760</c:v>
                </c:pt>
                <c:pt idx="281">
                  <c:v>41791</c:v>
                </c:pt>
                <c:pt idx="282">
                  <c:v>41821</c:v>
                </c:pt>
                <c:pt idx="283">
                  <c:v>41852</c:v>
                </c:pt>
                <c:pt idx="284">
                  <c:v>41883</c:v>
                </c:pt>
                <c:pt idx="285">
                  <c:v>41913</c:v>
                </c:pt>
                <c:pt idx="286">
                  <c:v>41944</c:v>
                </c:pt>
                <c:pt idx="287">
                  <c:v>41974</c:v>
                </c:pt>
                <c:pt idx="288">
                  <c:v>42005</c:v>
                </c:pt>
                <c:pt idx="289">
                  <c:v>42036</c:v>
                </c:pt>
                <c:pt idx="290">
                  <c:v>42064</c:v>
                </c:pt>
                <c:pt idx="291">
                  <c:v>42095</c:v>
                </c:pt>
                <c:pt idx="292">
                  <c:v>42125</c:v>
                </c:pt>
                <c:pt idx="293">
                  <c:v>42156</c:v>
                </c:pt>
                <c:pt idx="294">
                  <c:v>42186</c:v>
                </c:pt>
                <c:pt idx="295">
                  <c:v>42217</c:v>
                </c:pt>
                <c:pt idx="296">
                  <c:v>42248</c:v>
                </c:pt>
                <c:pt idx="297">
                  <c:v>42278</c:v>
                </c:pt>
                <c:pt idx="298">
                  <c:v>42309</c:v>
                </c:pt>
                <c:pt idx="299">
                  <c:v>42339</c:v>
                </c:pt>
                <c:pt idx="300">
                  <c:v>42370</c:v>
                </c:pt>
                <c:pt idx="301">
                  <c:v>42401</c:v>
                </c:pt>
                <c:pt idx="302">
                  <c:v>42430</c:v>
                </c:pt>
                <c:pt idx="303">
                  <c:v>42461</c:v>
                </c:pt>
                <c:pt idx="304">
                  <c:v>42491</c:v>
                </c:pt>
                <c:pt idx="305">
                  <c:v>42522</c:v>
                </c:pt>
                <c:pt idx="306">
                  <c:v>42552</c:v>
                </c:pt>
                <c:pt idx="307">
                  <c:v>42583</c:v>
                </c:pt>
                <c:pt idx="308">
                  <c:v>42614</c:v>
                </c:pt>
                <c:pt idx="309">
                  <c:v>42644</c:v>
                </c:pt>
                <c:pt idx="310">
                  <c:v>42675</c:v>
                </c:pt>
                <c:pt idx="311">
                  <c:v>42705</c:v>
                </c:pt>
                <c:pt idx="312">
                  <c:v>42736</c:v>
                </c:pt>
                <c:pt idx="313">
                  <c:v>42767</c:v>
                </c:pt>
                <c:pt idx="314">
                  <c:v>42795</c:v>
                </c:pt>
                <c:pt idx="315">
                  <c:v>42826</c:v>
                </c:pt>
                <c:pt idx="316">
                  <c:v>42856</c:v>
                </c:pt>
                <c:pt idx="317">
                  <c:v>42887</c:v>
                </c:pt>
                <c:pt idx="318">
                  <c:v>42917</c:v>
                </c:pt>
                <c:pt idx="319">
                  <c:v>42948</c:v>
                </c:pt>
                <c:pt idx="320">
                  <c:v>42979</c:v>
                </c:pt>
                <c:pt idx="321">
                  <c:v>43009</c:v>
                </c:pt>
                <c:pt idx="322">
                  <c:v>43040</c:v>
                </c:pt>
                <c:pt idx="323">
                  <c:v>43070</c:v>
                </c:pt>
                <c:pt idx="324">
                  <c:v>43101</c:v>
                </c:pt>
                <c:pt idx="325">
                  <c:v>43132</c:v>
                </c:pt>
                <c:pt idx="326">
                  <c:v>43160</c:v>
                </c:pt>
                <c:pt idx="327">
                  <c:v>43191</c:v>
                </c:pt>
                <c:pt idx="328">
                  <c:v>43221</c:v>
                </c:pt>
                <c:pt idx="329">
                  <c:v>43252</c:v>
                </c:pt>
                <c:pt idx="330">
                  <c:v>43282</c:v>
                </c:pt>
                <c:pt idx="331">
                  <c:v>43313</c:v>
                </c:pt>
                <c:pt idx="332">
                  <c:v>43344</c:v>
                </c:pt>
                <c:pt idx="333">
                  <c:v>43374</c:v>
                </c:pt>
                <c:pt idx="334">
                  <c:v>43405</c:v>
                </c:pt>
                <c:pt idx="335">
                  <c:v>43435</c:v>
                </c:pt>
                <c:pt idx="336">
                  <c:v>43466</c:v>
                </c:pt>
                <c:pt idx="337">
                  <c:v>43497</c:v>
                </c:pt>
                <c:pt idx="338">
                  <c:v>43525</c:v>
                </c:pt>
                <c:pt idx="339">
                  <c:v>43556</c:v>
                </c:pt>
                <c:pt idx="340">
                  <c:v>43586</c:v>
                </c:pt>
                <c:pt idx="341">
                  <c:v>43617</c:v>
                </c:pt>
                <c:pt idx="342">
                  <c:v>43647</c:v>
                </c:pt>
                <c:pt idx="343">
                  <c:v>43678</c:v>
                </c:pt>
                <c:pt idx="344">
                  <c:v>43709</c:v>
                </c:pt>
                <c:pt idx="345">
                  <c:v>43739</c:v>
                </c:pt>
                <c:pt idx="346">
                  <c:v>43770</c:v>
                </c:pt>
                <c:pt idx="347">
                  <c:v>43800</c:v>
                </c:pt>
                <c:pt idx="348">
                  <c:v>43831</c:v>
                </c:pt>
                <c:pt idx="349">
                  <c:v>43862</c:v>
                </c:pt>
                <c:pt idx="350">
                  <c:v>43891</c:v>
                </c:pt>
                <c:pt idx="351">
                  <c:v>43922</c:v>
                </c:pt>
                <c:pt idx="352">
                  <c:v>43952</c:v>
                </c:pt>
                <c:pt idx="353">
                  <c:v>43983</c:v>
                </c:pt>
                <c:pt idx="354">
                  <c:v>44013</c:v>
                </c:pt>
                <c:pt idx="355">
                  <c:v>44044</c:v>
                </c:pt>
                <c:pt idx="356">
                  <c:v>44075</c:v>
                </c:pt>
                <c:pt idx="357">
                  <c:v>44105</c:v>
                </c:pt>
                <c:pt idx="358">
                  <c:v>44136</c:v>
                </c:pt>
                <c:pt idx="359">
                  <c:v>44166</c:v>
                </c:pt>
                <c:pt idx="360">
                  <c:v>44197</c:v>
                </c:pt>
                <c:pt idx="361">
                  <c:v>44228</c:v>
                </c:pt>
                <c:pt idx="362">
                  <c:v>44256</c:v>
                </c:pt>
                <c:pt idx="363">
                  <c:v>44287</c:v>
                </c:pt>
                <c:pt idx="364">
                  <c:v>44317</c:v>
                </c:pt>
                <c:pt idx="365">
                  <c:v>44348</c:v>
                </c:pt>
                <c:pt idx="366">
                  <c:v>44378</c:v>
                </c:pt>
                <c:pt idx="367">
                  <c:v>44409</c:v>
                </c:pt>
                <c:pt idx="368">
                  <c:v>44440</c:v>
                </c:pt>
                <c:pt idx="369">
                  <c:v>44470</c:v>
                </c:pt>
                <c:pt idx="370">
                  <c:v>44501</c:v>
                </c:pt>
                <c:pt idx="371">
                  <c:v>44531</c:v>
                </c:pt>
                <c:pt idx="372">
                  <c:v>44562</c:v>
                </c:pt>
                <c:pt idx="373">
                  <c:v>44593</c:v>
                </c:pt>
                <c:pt idx="374">
                  <c:v>44621</c:v>
                </c:pt>
                <c:pt idx="375">
                  <c:v>44652</c:v>
                </c:pt>
                <c:pt idx="376">
                  <c:v>44682</c:v>
                </c:pt>
                <c:pt idx="377">
                  <c:v>44713</c:v>
                </c:pt>
                <c:pt idx="378">
                  <c:v>44743</c:v>
                </c:pt>
                <c:pt idx="379">
                  <c:v>44774</c:v>
                </c:pt>
                <c:pt idx="380">
                  <c:v>44805</c:v>
                </c:pt>
                <c:pt idx="381">
                  <c:v>44835</c:v>
                </c:pt>
                <c:pt idx="382">
                  <c:v>44866</c:v>
                </c:pt>
                <c:pt idx="383">
                  <c:v>44896</c:v>
                </c:pt>
                <c:pt idx="384">
                  <c:v>44927</c:v>
                </c:pt>
                <c:pt idx="385">
                  <c:v>44958</c:v>
                </c:pt>
                <c:pt idx="386">
                  <c:v>44986</c:v>
                </c:pt>
                <c:pt idx="387">
                  <c:v>45017</c:v>
                </c:pt>
                <c:pt idx="388">
                  <c:v>45047</c:v>
                </c:pt>
                <c:pt idx="389">
                  <c:v>45078</c:v>
                </c:pt>
                <c:pt idx="390">
                  <c:v>45108</c:v>
                </c:pt>
                <c:pt idx="391">
                  <c:v>45139</c:v>
                </c:pt>
                <c:pt idx="392">
                  <c:v>45170</c:v>
                </c:pt>
                <c:pt idx="393">
                  <c:v>45200</c:v>
                </c:pt>
                <c:pt idx="394">
                  <c:v>45231</c:v>
                </c:pt>
                <c:pt idx="395">
                  <c:v>45261</c:v>
                </c:pt>
                <c:pt idx="396">
                  <c:v>45292</c:v>
                </c:pt>
              </c:numCache>
            </c:numRef>
          </c:cat>
          <c:val>
            <c:numRef>
              <c:f>Sheet15!$F$3:$F$495</c:f>
              <c:numCache>
                <c:formatCode>0%</c:formatCode>
                <c:ptCount val="397"/>
                <c:pt idx="0" formatCode="0.0%">
                  <c:v>8.5708599999999996E-2</c:v>
                </c:pt>
                <c:pt idx="1">
                  <c:v>8.5708599999999996E-2</c:v>
                </c:pt>
                <c:pt idx="2">
                  <c:v>8.5708599999999996E-2</c:v>
                </c:pt>
                <c:pt idx="3">
                  <c:v>8.5708599999999996E-2</c:v>
                </c:pt>
                <c:pt idx="4">
                  <c:v>8.5708599999999996E-2</c:v>
                </c:pt>
                <c:pt idx="5">
                  <c:v>8.5708599999999996E-2</c:v>
                </c:pt>
                <c:pt idx="6">
                  <c:v>8.5708599999999996E-2</c:v>
                </c:pt>
                <c:pt idx="7">
                  <c:v>8.5708599999999996E-2</c:v>
                </c:pt>
                <c:pt idx="8">
                  <c:v>8.5708599999999996E-2</c:v>
                </c:pt>
                <c:pt idx="9">
                  <c:v>8.5708599999999996E-2</c:v>
                </c:pt>
                <c:pt idx="10">
                  <c:v>8.5708599999999996E-2</c:v>
                </c:pt>
                <c:pt idx="11">
                  <c:v>8.5708599999999996E-2</c:v>
                </c:pt>
                <c:pt idx="12">
                  <c:v>8.5708599999999996E-2</c:v>
                </c:pt>
                <c:pt idx="13">
                  <c:v>8.5708599999999996E-2</c:v>
                </c:pt>
                <c:pt idx="14">
                  <c:v>8.5708599999999996E-2</c:v>
                </c:pt>
                <c:pt idx="15">
                  <c:v>8.5708599999999996E-2</c:v>
                </c:pt>
                <c:pt idx="16">
                  <c:v>8.5708599999999996E-2</c:v>
                </c:pt>
                <c:pt idx="17">
                  <c:v>8.5708599999999996E-2</c:v>
                </c:pt>
                <c:pt idx="18">
                  <c:v>8.5708599999999996E-2</c:v>
                </c:pt>
                <c:pt idx="19">
                  <c:v>8.5708599999999996E-2</c:v>
                </c:pt>
                <c:pt idx="20">
                  <c:v>8.5708599999999996E-2</c:v>
                </c:pt>
                <c:pt idx="21">
                  <c:v>8.5708599999999996E-2</c:v>
                </c:pt>
                <c:pt idx="22">
                  <c:v>8.5708599999999996E-2</c:v>
                </c:pt>
                <c:pt idx="23">
                  <c:v>8.5708599999999996E-2</c:v>
                </c:pt>
                <c:pt idx="24">
                  <c:v>8.5708599999999996E-2</c:v>
                </c:pt>
                <c:pt idx="25">
                  <c:v>8.5708599999999996E-2</c:v>
                </c:pt>
                <c:pt idx="26">
                  <c:v>8.5708599999999996E-2</c:v>
                </c:pt>
                <c:pt idx="27">
                  <c:v>8.5708599999999996E-2</c:v>
                </c:pt>
                <c:pt idx="28">
                  <c:v>8.5708599999999996E-2</c:v>
                </c:pt>
                <c:pt idx="29">
                  <c:v>8.5708599999999996E-2</c:v>
                </c:pt>
                <c:pt idx="30">
                  <c:v>8.5708599999999996E-2</c:v>
                </c:pt>
                <c:pt idx="31">
                  <c:v>8.5708599999999996E-2</c:v>
                </c:pt>
                <c:pt idx="32">
                  <c:v>8.5708599999999996E-2</c:v>
                </c:pt>
                <c:pt idx="33">
                  <c:v>8.5708599999999996E-2</c:v>
                </c:pt>
                <c:pt idx="34">
                  <c:v>8.5708599999999996E-2</c:v>
                </c:pt>
                <c:pt idx="35">
                  <c:v>8.5708599999999996E-2</c:v>
                </c:pt>
                <c:pt idx="36">
                  <c:v>8.5708599999999996E-2</c:v>
                </c:pt>
                <c:pt idx="37">
                  <c:v>8.5708599999999996E-2</c:v>
                </c:pt>
                <c:pt idx="38">
                  <c:v>8.5708599999999996E-2</c:v>
                </c:pt>
                <c:pt idx="39">
                  <c:v>8.5708599999999996E-2</c:v>
                </c:pt>
                <c:pt idx="40">
                  <c:v>8.5708599999999996E-2</c:v>
                </c:pt>
                <c:pt idx="41">
                  <c:v>8.5708599999999996E-2</c:v>
                </c:pt>
                <c:pt idx="42">
                  <c:v>8.5708599999999996E-2</c:v>
                </c:pt>
                <c:pt idx="43">
                  <c:v>8.5708599999999996E-2</c:v>
                </c:pt>
                <c:pt idx="44">
                  <c:v>8.5708599999999996E-2</c:v>
                </c:pt>
                <c:pt idx="45">
                  <c:v>8.5708599999999996E-2</c:v>
                </c:pt>
                <c:pt idx="46">
                  <c:v>8.5708599999999996E-2</c:v>
                </c:pt>
                <c:pt idx="47">
                  <c:v>8.5708599999999996E-2</c:v>
                </c:pt>
                <c:pt idx="48">
                  <c:v>8.5708599999999996E-2</c:v>
                </c:pt>
                <c:pt idx="49">
                  <c:v>8.5708599999999996E-2</c:v>
                </c:pt>
                <c:pt idx="50">
                  <c:v>8.5708599999999996E-2</c:v>
                </c:pt>
                <c:pt idx="51">
                  <c:v>8.5708599999999996E-2</c:v>
                </c:pt>
                <c:pt idx="52">
                  <c:v>8.5708599999999996E-2</c:v>
                </c:pt>
                <c:pt idx="53">
                  <c:v>8.5708599999999996E-2</c:v>
                </c:pt>
                <c:pt idx="54">
                  <c:v>8.5708599999999996E-2</c:v>
                </c:pt>
                <c:pt idx="55">
                  <c:v>8.5708599999999996E-2</c:v>
                </c:pt>
                <c:pt idx="56">
                  <c:v>8.5708599999999996E-2</c:v>
                </c:pt>
                <c:pt idx="57">
                  <c:v>8.5708599999999996E-2</c:v>
                </c:pt>
                <c:pt idx="58">
                  <c:v>8.5708599999999996E-2</c:v>
                </c:pt>
                <c:pt idx="59">
                  <c:v>8.5708599999999996E-2</c:v>
                </c:pt>
                <c:pt idx="60">
                  <c:v>8.5708599999999996E-2</c:v>
                </c:pt>
                <c:pt idx="61">
                  <c:v>8.5708599999999996E-2</c:v>
                </c:pt>
                <c:pt idx="62">
                  <c:v>8.5708599999999996E-2</c:v>
                </c:pt>
                <c:pt idx="63">
                  <c:v>8.5708599999999996E-2</c:v>
                </c:pt>
                <c:pt idx="64">
                  <c:v>8.5708599999999996E-2</c:v>
                </c:pt>
                <c:pt idx="65">
                  <c:v>8.5708599999999996E-2</c:v>
                </c:pt>
                <c:pt idx="66">
                  <c:v>8.5708599999999996E-2</c:v>
                </c:pt>
                <c:pt idx="67">
                  <c:v>8.5708599999999996E-2</c:v>
                </c:pt>
                <c:pt idx="68">
                  <c:v>8.5708599999999996E-2</c:v>
                </c:pt>
                <c:pt idx="69">
                  <c:v>8.5708599999999996E-2</c:v>
                </c:pt>
                <c:pt idx="70">
                  <c:v>8.5708599999999996E-2</c:v>
                </c:pt>
                <c:pt idx="71">
                  <c:v>8.5708599999999996E-2</c:v>
                </c:pt>
                <c:pt idx="72">
                  <c:v>8.5708599999999996E-2</c:v>
                </c:pt>
                <c:pt idx="73">
                  <c:v>8.5708599999999996E-2</c:v>
                </c:pt>
                <c:pt idx="74">
                  <c:v>8.5708599999999996E-2</c:v>
                </c:pt>
                <c:pt idx="75">
                  <c:v>8.5708599999999996E-2</c:v>
                </c:pt>
                <c:pt idx="76">
                  <c:v>8.5708599999999996E-2</c:v>
                </c:pt>
                <c:pt idx="77">
                  <c:v>8.5708599999999996E-2</c:v>
                </c:pt>
                <c:pt idx="78">
                  <c:v>8.5708599999999996E-2</c:v>
                </c:pt>
                <c:pt idx="79">
                  <c:v>8.5708599999999996E-2</c:v>
                </c:pt>
                <c:pt idx="80">
                  <c:v>8.5708599999999996E-2</c:v>
                </c:pt>
                <c:pt idx="81">
                  <c:v>8.5708599999999996E-2</c:v>
                </c:pt>
                <c:pt idx="82">
                  <c:v>8.5708599999999996E-2</c:v>
                </c:pt>
                <c:pt idx="83">
                  <c:v>8.5708599999999996E-2</c:v>
                </c:pt>
                <c:pt idx="84">
                  <c:v>8.5708599999999996E-2</c:v>
                </c:pt>
                <c:pt idx="85">
                  <c:v>8.5708599999999996E-2</c:v>
                </c:pt>
                <c:pt idx="86">
                  <c:v>8.5708599999999996E-2</c:v>
                </c:pt>
                <c:pt idx="87">
                  <c:v>8.5708599999999996E-2</c:v>
                </c:pt>
                <c:pt idx="88">
                  <c:v>8.5708599999999996E-2</c:v>
                </c:pt>
                <c:pt idx="89">
                  <c:v>8.5708599999999996E-2</c:v>
                </c:pt>
                <c:pt idx="90">
                  <c:v>8.5708599999999996E-2</c:v>
                </c:pt>
                <c:pt idx="91">
                  <c:v>8.5708599999999996E-2</c:v>
                </c:pt>
                <c:pt idx="92">
                  <c:v>8.5708599999999996E-2</c:v>
                </c:pt>
                <c:pt idx="93">
                  <c:v>8.5708599999999996E-2</c:v>
                </c:pt>
                <c:pt idx="94">
                  <c:v>8.5708599999999996E-2</c:v>
                </c:pt>
                <c:pt idx="95">
                  <c:v>8.5708599999999996E-2</c:v>
                </c:pt>
                <c:pt idx="96">
                  <c:v>8.5708599999999996E-2</c:v>
                </c:pt>
                <c:pt idx="97">
                  <c:v>8.5708599999999996E-2</c:v>
                </c:pt>
                <c:pt idx="98">
                  <c:v>8.5708599999999996E-2</c:v>
                </c:pt>
                <c:pt idx="99">
                  <c:v>8.5708599999999996E-2</c:v>
                </c:pt>
                <c:pt idx="100">
                  <c:v>8.5708599999999996E-2</c:v>
                </c:pt>
                <c:pt idx="101">
                  <c:v>8.5708599999999996E-2</c:v>
                </c:pt>
                <c:pt idx="102">
                  <c:v>8.5708599999999996E-2</c:v>
                </c:pt>
                <c:pt idx="103">
                  <c:v>8.5708599999999996E-2</c:v>
                </c:pt>
                <c:pt idx="104">
                  <c:v>8.5708599999999996E-2</c:v>
                </c:pt>
                <c:pt idx="105">
                  <c:v>8.5708599999999996E-2</c:v>
                </c:pt>
                <c:pt idx="106">
                  <c:v>8.5708599999999996E-2</c:v>
                </c:pt>
                <c:pt idx="107">
                  <c:v>8.5708599999999996E-2</c:v>
                </c:pt>
                <c:pt idx="108">
                  <c:v>8.5708599999999996E-2</c:v>
                </c:pt>
                <c:pt idx="109">
                  <c:v>8.5708599999999996E-2</c:v>
                </c:pt>
                <c:pt idx="110">
                  <c:v>8.5708599999999996E-2</c:v>
                </c:pt>
                <c:pt idx="111">
                  <c:v>8.5708599999999996E-2</c:v>
                </c:pt>
                <c:pt idx="112">
                  <c:v>8.5708599999999996E-2</c:v>
                </c:pt>
                <c:pt idx="113">
                  <c:v>8.5708599999999996E-2</c:v>
                </c:pt>
                <c:pt idx="114">
                  <c:v>8.5708599999999996E-2</c:v>
                </c:pt>
                <c:pt idx="115">
                  <c:v>8.5708599999999996E-2</c:v>
                </c:pt>
                <c:pt idx="116">
                  <c:v>8.5708599999999996E-2</c:v>
                </c:pt>
                <c:pt idx="117">
                  <c:v>8.5708599999999996E-2</c:v>
                </c:pt>
                <c:pt idx="118">
                  <c:v>8.5708599999999996E-2</c:v>
                </c:pt>
                <c:pt idx="119">
                  <c:v>8.5708599999999996E-2</c:v>
                </c:pt>
                <c:pt idx="120">
                  <c:v>8.5708599999999996E-2</c:v>
                </c:pt>
                <c:pt idx="121">
                  <c:v>8.5708599999999996E-2</c:v>
                </c:pt>
                <c:pt idx="122">
                  <c:v>8.5708599999999996E-2</c:v>
                </c:pt>
                <c:pt idx="123">
                  <c:v>8.5708599999999996E-2</c:v>
                </c:pt>
                <c:pt idx="124">
                  <c:v>8.5708599999999996E-2</c:v>
                </c:pt>
                <c:pt idx="125">
                  <c:v>8.5708599999999996E-2</c:v>
                </c:pt>
                <c:pt idx="126">
                  <c:v>8.5708599999999996E-2</c:v>
                </c:pt>
                <c:pt idx="127">
                  <c:v>8.5708599999999996E-2</c:v>
                </c:pt>
                <c:pt idx="128">
                  <c:v>8.5708599999999996E-2</c:v>
                </c:pt>
                <c:pt idx="129">
                  <c:v>8.5708599999999996E-2</c:v>
                </c:pt>
                <c:pt idx="130">
                  <c:v>8.5708599999999996E-2</c:v>
                </c:pt>
                <c:pt idx="131">
                  <c:v>8.5708599999999996E-2</c:v>
                </c:pt>
                <c:pt idx="132">
                  <c:v>8.5708599999999996E-2</c:v>
                </c:pt>
                <c:pt idx="133">
                  <c:v>8.5708599999999996E-2</c:v>
                </c:pt>
                <c:pt idx="134">
                  <c:v>8.5708599999999996E-2</c:v>
                </c:pt>
                <c:pt idx="135">
                  <c:v>8.5708599999999996E-2</c:v>
                </c:pt>
                <c:pt idx="136">
                  <c:v>8.5708599999999996E-2</c:v>
                </c:pt>
                <c:pt idx="137">
                  <c:v>8.5708599999999996E-2</c:v>
                </c:pt>
                <c:pt idx="138">
                  <c:v>8.5708599999999996E-2</c:v>
                </c:pt>
                <c:pt idx="139">
                  <c:v>8.5708599999999996E-2</c:v>
                </c:pt>
                <c:pt idx="140">
                  <c:v>8.5708599999999996E-2</c:v>
                </c:pt>
                <c:pt idx="141">
                  <c:v>8.5708599999999996E-2</c:v>
                </c:pt>
                <c:pt idx="142">
                  <c:v>8.5708599999999996E-2</c:v>
                </c:pt>
                <c:pt idx="143">
                  <c:v>8.5708599999999996E-2</c:v>
                </c:pt>
                <c:pt idx="144">
                  <c:v>8.5708599999999996E-2</c:v>
                </c:pt>
                <c:pt idx="145">
                  <c:v>8.5708599999999996E-2</c:v>
                </c:pt>
                <c:pt idx="146">
                  <c:v>8.5708599999999996E-2</c:v>
                </c:pt>
                <c:pt idx="147">
                  <c:v>8.5708599999999996E-2</c:v>
                </c:pt>
                <c:pt idx="148">
                  <c:v>8.5708599999999996E-2</c:v>
                </c:pt>
                <c:pt idx="149">
                  <c:v>8.5708599999999996E-2</c:v>
                </c:pt>
                <c:pt idx="150">
                  <c:v>8.5708599999999996E-2</c:v>
                </c:pt>
                <c:pt idx="151">
                  <c:v>8.5708599999999996E-2</c:v>
                </c:pt>
                <c:pt idx="152">
                  <c:v>8.5708599999999996E-2</c:v>
                </c:pt>
                <c:pt idx="153">
                  <c:v>8.5708599999999996E-2</c:v>
                </c:pt>
                <c:pt idx="154">
                  <c:v>8.5708599999999996E-2</c:v>
                </c:pt>
                <c:pt idx="155">
                  <c:v>8.5708599999999996E-2</c:v>
                </c:pt>
                <c:pt idx="156">
                  <c:v>8.5708599999999996E-2</c:v>
                </c:pt>
                <c:pt idx="157">
                  <c:v>8.5708599999999996E-2</c:v>
                </c:pt>
                <c:pt idx="158">
                  <c:v>8.5708599999999996E-2</c:v>
                </c:pt>
                <c:pt idx="159">
                  <c:v>8.5708599999999996E-2</c:v>
                </c:pt>
                <c:pt idx="160">
                  <c:v>8.5708599999999996E-2</c:v>
                </c:pt>
                <c:pt idx="161">
                  <c:v>8.5708599999999996E-2</c:v>
                </c:pt>
                <c:pt idx="162">
                  <c:v>8.5708599999999996E-2</c:v>
                </c:pt>
                <c:pt idx="163">
                  <c:v>8.5708599999999996E-2</c:v>
                </c:pt>
                <c:pt idx="164">
                  <c:v>8.5708599999999996E-2</c:v>
                </c:pt>
                <c:pt idx="165">
                  <c:v>8.5708599999999996E-2</c:v>
                </c:pt>
                <c:pt idx="166">
                  <c:v>8.5708599999999996E-2</c:v>
                </c:pt>
                <c:pt idx="167">
                  <c:v>8.5708599999999996E-2</c:v>
                </c:pt>
                <c:pt idx="168">
                  <c:v>8.5708599999999996E-2</c:v>
                </c:pt>
                <c:pt idx="169">
                  <c:v>8.5708599999999996E-2</c:v>
                </c:pt>
                <c:pt idx="170">
                  <c:v>8.5708599999999996E-2</c:v>
                </c:pt>
                <c:pt idx="171">
                  <c:v>8.5708599999999996E-2</c:v>
                </c:pt>
                <c:pt idx="172">
                  <c:v>8.5708599999999996E-2</c:v>
                </c:pt>
                <c:pt idx="173">
                  <c:v>8.5708599999999996E-2</c:v>
                </c:pt>
                <c:pt idx="174">
                  <c:v>8.5708599999999996E-2</c:v>
                </c:pt>
                <c:pt idx="175">
                  <c:v>8.5708599999999996E-2</c:v>
                </c:pt>
                <c:pt idx="176">
                  <c:v>8.5708599999999996E-2</c:v>
                </c:pt>
                <c:pt idx="177">
                  <c:v>8.5708599999999996E-2</c:v>
                </c:pt>
                <c:pt idx="178">
                  <c:v>8.5708599999999996E-2</c:v>
                </c:pt>
                <c:pt idx="179">
                  <c:v>8.5708599999999996E-2</c:v>
                </c:pt>
                <c:pt idx="180">
                  <c:v>8.5708599999999996E-2</c:v>
                </c:pt>
                <c:pt idx="181">
                  <c:v>8.5708599999999996E-2</c:v>
                </c:pt>
                <c:pt idx="182">
                  <c:v>8.5708599999999996E-2</c:v>
                </c:pt>
                <c:pt idx="183">
                  <c:v>8.5708599999999996E-2</c:v>
                </c:pt>
                <c:pt idx="184">
                  <c:v>8.5708599999999996E-2</c:v>
                </c:pt>
                <c:pt idx="185">
                  <c:v>8.5708599999999996E-2</c:v>
                </c:pt>
                <c:pt idx="186">
                  <c:v>8.5708599999999996E-2</c:v>
                </c:pt>
                <c:pt idx="187">
                  <c:v>8.5708599999999996E-2</c:v>
                </c:pt>
                <c:pt idx="188">
                  <c:v>8.5708599999999996E-2</c:v>
                </c:pt>
                <c:pt idx="189">
                  <c:v>8.5708599999999996E-2</c:v>
                </c:pt>
                <c:pt idx="190">
                  <c:v>8.5708599999999996E-2</c:v>
                </c:pt>
                <c:pt idx="191">
                  <c:v>8.5708599999999996E-2</c:v>
                </c:pt>
                <c:pt idx="192">
                  <c:v>8.5708599999999996E-2</c:v>
                </c:pt>
                <c:pt idx="193">
                  <c:v>8.5708599999999996E-2</c:v>
                </c:pt>
                <c:pt idx="194">
                  <c:v>8.5708599999999996E-2</c:v>
                </c:pt>
                <c:pt idx="195">
                  <c:v>8.5708599999999996E-2</c:v>
                </c:pt>
                <c:pt idx="196">
                  <c:v>8.5708599999999996E-2</c:v>
                </c:pt>
                <c:pt idx="197">
                  <c:v>8.5708599999999996E-2</c:v>
                </c:pt>
                <c:pt idx="198">
                  <c:v>8.5708599999999996E-2</c:v>
                </c:pt>
                <c:pt idx="199">
                  <c:v>8.5708599999999996E-2</c:v>
                </c:pt>
                <c:pt idx="200">
                  <c:v>8.5708599999999996E-2</c:v>
                </c:pt>
                <c:pt idx="201">
                  <c:v>8.5708599999999996E-2</c:v>
                </c:pt>
                <c:pt idx="202">
                  <c:v>8.5708599999999996E-2</c:v>
                </c:pt>
                <c:pt idx="203">
                  <c:v>8.5708599999999996E-2</c:v>
                </c:pt>
                <c:pt idx="204">
                  <c:v>8.5708599999999996E-2</c:v>
                </c:pt>
                <c:pt idx="205">
                  <c:v>8.5708599999999996E-2</c:v>
                </c:pt>
                <c:pt idx="206">
                  <c:v>8.5708599999999996E-2</c:v>
                </c:pt>
                <c:pt idx="207">
                  <c:v>8.5708599999999996E-2</c:v>
                </c:pt>
                <c:pt idx="208">
                  <c:v>8.5708599999999996E-2</c:v>
                </c:pt>
                <c:pt idx="209">
                  <c:v>8.5708599999999996E-2</c:v>
                </c:pt>
                <c:pt idx="210">
                  <c:v>8.5708599999999996E-2</c:v>
                </c:pt>
                <c:pt idx="211">
                  <c:v>8.5708599999999996E-2</c:v>
                </c:pt>
                <c:pt idx="212">
                  <c:v>8.5708599999999996E-2</c:v>
                </c:pt>
                <c:pt idx="213">
                  <c:v>8.5708599999999996E-2</c:v>
                </c:pt>
                <c:pt idx="214">
                  <c:v>8.5708599999999996E-2</c:v>
                </c:pt>
                <c:pt idx="215">
                  <c:v>8.5708599999999996E-2</c:v>
                </c:pt>
                <c:pt idx="216">
                  <c:v>8.5708599999999996E-2</c:v>
                </c:pt>
                <c:pt idx="217">
                  <c:v>8.5708599999999996E-2</c:v>
                </c:pt>
                <c:pt idx="218">
                  <c:v>8.5708599999999996E-2</c:v>
                </c:pt>
                <c:pt idx="219">
                  <c:v>8.5708599999999996E-2</c:v>
                </c:pt>
                <c:pt idx="220">
                  <c:v>8.5708599999999996E-2</c:v>
                </c:pt>
                <c:pt idx="221">
                  <c:v>8.5708599999999996E-2</c:v>
                </c:pt>
                <c:pt idx="222">
                  <c:v>8.5708599999999996E-2</c:v>
                </c:pt>
                <c:pt idx="223">
                  <c:v>8.5708599999999996E-2</c:v>
                </c:pt>
                <c:pt idx="224">
                  <c:v>8.5708599999999996E-2</c:v>
                </c:pt>
                <c:pt idx="225">
                  <c:v>8.5708599999999996E-2</c:v>
                </c:pt>
                <c:pt idx="226">
                  <c:v>8.5708599999999996E-2</c:v>
                </c:pt>
                <c:pt idx="227">
                  <c:v>8.5708599999999996E-2</c:v>
                </c:pt>
                <c:pt idx="228">
                  <c:v>8.5708599999999996E-2</c:v>
                </c:pt>
                <c:pt idx="229">
                  <c:v>8.5708599999999996E-2</c:v>
                </c:pt>
                <c:pt idx="230">
                  <c:v>8.5708599999999996E-2</c:v>
                </c:pt>
                <c:pt idx="231">
                  <c:v>8.5708599999999996E-2</c:v>
                </c:pt>
                <c:pt idx="232">
                  <c:v>8.5708599999999996E-2</c:v>
                </c:pt>
                <c:pt idx="233">
                  <c:v>8.5708599999999996E-2</c:v>
                </c:pt>
                <c:pt idx="234">
                  <c:v>8.5708599999999996E-2</c:v>
                </c:pt>
                <c:pt idx="235">
                  <c:v>8.5708599999999996E-2</c:v>
                </c:pt>
                <c:pt idx="236">
                  <c:v>8.5708599999999996E-2</c:v>
                </c:pt>
                <c:pt idx="237">
                  <c:v>8.5708599999999996E-2</c:v>
                </c:pt>
                <c:pt idx="238">
                  <c:v>8.5708599999999996E-2</c:v>
                </c:pt>
                <c:pt idx="239">
                  <c:v>8.5708599999999996E-2</c:v>
                </c:pt>
                <c:pt idx="240">
                  <c:v>8.5708599999999996E-2</c:v>
                </c:pt>
                <c:pt idx="241">
                  <c:v>8.5708599999999996E-2</c:v>
                </c:pt>
                <c:pt idx="242">
                  <c:v>8.5708599999999996E-2</c:v>
                </c:pt>
                <c:pt idx="243">
                  <c:v>8.5708599999999996E-2</c:v>
                </c:pt>
                <c:pt idx="244">
                  <c:v>8.5708599999999996E-2</c:v>
                </c:pt>
                <c:pt idx="245">
                  <c:v>8.5708599999999996E-2</c:v>
                </c:pt>
                <c:pt idx="246">
                  <c:v>8.5708599999999996E-2</c:v>
                </c:pt>
                <c:pt idx="247">
                  <c:v>8.5708599999999996E-2</c:v>
                </c:pt>
                <c:pt idx="248">
                  <c:v>8.5708599999999996E-2</c:v>
                </c:pt>
                <c:pt idx="249">
                  <c:v>8.5708599999999996E-2</c:v>
                </c:pt>
                <c:pt idx="250">
                  <c:v>8.5708599999999996E-2</c:v>
                </c:pt>
                <c:pt idx="251">
                  <c:v>8.5708599999999996E-2</c:v>
                </c:pt>
                <c:pt idx="252">
                  <c:v>8.5708599999999996E-2</c:v>
                </c:pt>
                <c:pt idx="253">
                  <c:v>8.5708599999999996E-2</c:v>
                </c:pt>
                <c:pt idx="254">
                  <c:v>8.5708599999999996E-2</c:v>
                </c:pt>
                <c:pt idx="255">
                  <c:v>8.5708599999999996E-2</c:v>
                </c:pt>
                <c:pt idx="256">
                  <c:v>8.5708599999999996E-2</c:v>
                </c:pt>
                <c:pt idx="257">
                  <c:v>8.5708599999999996E-2</c:v>
                </c:pt>
                <c:pt idx="258">
                  <c:v>8.5708599999999996E-2</c:v>
                </c:pt>
                <c:pt idx="259">
                  <c:v>8.5708599999999996E-2</c:v>
                </c:pt>
                <c:pt idx="260">
                  <c:v>8.5708599999999996E-2</c:v>
                </c:pt>
                <c:pt idx="261">
                  <c:v>8.5708599999999996E-2</c:v>
                </c:pt>
                <c:pt idx="262">
                  <c:v>8.5708599999999996E-2</c:v>
                </c:pt>
                <c:pt idx="263">
                  <c:v>8.5708599999999996E-2</c:v>
                </c:pt>
                <c:pt idx="264">
                  <c:v>8.5708599999999996E-2</c:v>
                </c:pt>
                <c:pt idx="265">
                  <c:v>8.5708599999999996E-2</c:v>
                </c:pt>
                <c:pt idx="266">
                  <c:v>8.5708599999999996E-2</c:v>
                </c:pt>
                <c:pt idx="267">
                  <c:v>8.5708599999999996E-2</c:v>
                </c:pt>
                <c:pt idx="268">
                  <c:v>8.5708599999999996E-2</c:v>
                </c:pt>
                <c:pt idx="269">
                  <c:v>8.5708599999999996E-2</c:v>
                </c:pt>
                <c:pt idx="270">
                  <c:v>8.5708599999999996E-2</c:v>
                </c:pt>
                <c:pt idx="271">
                  <c:v>8.5708599999999996E-2</c:v>
                </c:pt>
                <c:pt idx="272">
                  <c:v>8.5708599999999996E-2</c:v>
                </c:pt>
                <c:pt idx="273">
                  <c:v>8.5708599999999996E-2</c:v>
                </c:pt>
                <c:pt idx="274">
                  <c:v>8.5708599999999996E-2</c:v>
                </c:pt>
                <c:pt idx="275">
                  <c:v>8.5708599999999996E-2</c:v>
                </c:pt>
                <c:pt idx="276">
                  <c:v>8.5708599999999996E-2</c:v>
                </c:pt>
                <c:pt idx="277">
                  <c:v>8.5708599999999996E-2</c:v>
                </c:pt>
                <c:pt idx="278">
                  <c:v>8.5708599999999996E-2</c:v>
                </c:pt>
                <c:pt idx="279">
                  <c:v>8.5708599999999996E-2</c:v>
                </c:pt>
                <c:pt idx="280">
                  <c:v>8.5708599999999996E-2</c:v>
                </c:pt>
                <c:pt idx="281">
                  <c:v>8.5708599999999996E-2</c:v>
                </c:pt>
                <c:pt idx="282">
                  <c:v>8.5708599999999996E-2</c:v>
                </c:pt>
                <c:pt idx="283">
                  <c:v>8.5708599999999996E-2</c:v>
                </c:pt>
                <c:pt idx="284">
                  <c:v>8.5708599999999996E-2</c:v>
                </c:pt>
                <c:pt idx="285">
                  <c:v>8.5708599999999996E-2</c:v>
                </c:pt>
                <c:pt idx="286">
                  <c:v>8.5708599999999996E-2</c:v>
                </c:pt>
                <c:pt idx="287">
                  <c:v>8.5708599999999996E-2</c:v>
                </c:pt>
                <c:pt idx="288">
                  <c:v>8.5708599999999996E-2</c:v>
                </c:pt>
                <c:pt idx="289">
                  <c:v>8.5708599999999996E-2</c:v>
                </c:pt>
                <c:pt idx="290">
                  <c:v>8.5708599999999996E-2</c:v>
                </c:pt>
                <c:pt idx="291">
                  <c:v>8.5708599999999996E-2</c:v>
                </c:pt>
                <c:pt idx="292">
                  <c:v>8.5708599999999996E-2</c:v>
                </c:pt>
                <c:pt idx="293">
                  <c:v>8.5708599999999996E-2</c:v>
                </c:pt>
                <c:pt idx="294">
                  <c:v>8.5708599999999996E-2</c:v>
                </c:pt>
                <c:pt idx="295">
                  <c:v>8.5708599999999996E-2</c:v>
                </c:pt>
                <c:pt idx="296">
                  <c:v>8.5708599999999996E-2</c:v>
                </c:pt>
                <c:pt idx="297">
                  <c:v>8.5708599999999996E-2</c:v>
                </c:pt>
                <c:pt idx="298">
                  <c:v>8.5708599999999996E-2</c:v>
                </c:pt>
                <c:pt idx="299">
                  <c:v>8.5708599999999996E-2</c:v>
                </c:pt>
                <c:pt idx="300">
                  <c:v>8.5708599999999996E-2</c:v>
                </c:pt>
                <c:pt idx="301">
                  <c:v>8.5708599999999996E-2</c:v>
                </c:pt>
                <c:pt idx="302">
                  <c:v>8.5708599999999996E-2</c:v>
                </c:pt>
                <c:pt idx="303">
                  <c:v>8.5708599999999996E-2</c:v>
                </c:pt>
                <c:pt idx="304">
                  <c:v>8.5708599999999996E-2</c:v>
                </c:pt>
                <c:pt idx="305">
                  <c:v>8.5708599999999996E-2</c:v>
                </c:pt>
                <c:pt idx="306">
                  <c:v>8.5708599999999996E-2</c:v>
                </c:pt>
                <c:pt idx="307">
                  <c:v>8.5708599999999996E-2</c:v>
                </c:pt>
                <c:pt idx="308">
                  <c:v>8.5708599999999996E-2</c:v>
                </c:pt>
                <c:pt idx="309">
                  <c:v>8.5708599999999996E-2</c:v>
                </c:pt>
                <c:pt idx="310">
                  <c:v>8.5708599999999996E-2</c:v>
                </c:pt>
                <c:pt idx="311">
                  <c:v>8.5708599999999996E-2</c:v>
                </c:pt>
                <c:pt idx="312">
                  <c:v>8.5708599999999996E-2</c:v>
                </c:pt>
                <c:pt idx="313">
                  <c:v>8.5708599999999996E-2</c:v>
                </c:pt>
                <c:pt idx="314">
                  <c:v>8.5708599999999996E-2</c:v>
                </c:pt>
                <c:pt idx="315">
                  <c:v>8.5708599999999996E-2</c:v>
                </c:pt>
                <c:pt idx="316">
                  <c:v>8.5708599999999996E-2</c:v>
                </c:pt>
                <c:pt idx="317">
                  <c:v>8.5708599999999996E-2</c:v>
                </c:pt>
                <c:pt idx="318">
                  <c:v>8.5708599999999996E-2</c:v>
                </c:pt>
                <c:pt idx="319">
                  <c:v>8.5708599999999996E-2</c:v>
                </c:pt>
                <c:pt idx="320">
                  <c:v>8.5708599999999996E-2</c:v>
                </c:pt>
                <c:pt idx="321">
                  <c:v>8.5708599999999996E-2</c:v>
                </c:pt>
                <c:pt idx="322">
                  <c:v>8.5708599999999996E-2</c:v>
                </c:pt>
                <c:pt idx="323">
                  <c:v>8.5708599999999996E-2</c:v>
                </c:pt>
                <c:pt idx="324">
                  <c:v>8.5708599999999996E-2</c:v>
                </c:pt>
                <c:pt idx="325">
                  <c:v>8.5708599999999996E-2</c:v>
                </c:pt>
                <c:pt idx="326">
                  <c:v>8.5708599999999996E-2</c:v>
                </c:pt>
                <c:pt idx="327">
                  <c:v>8.5708599999999996E-2</c:v>
                </c:pt>
                <c:pt idx="328">
                  <c:v>8.5708599999999996E-2</c:v>
                </c:pt>
                <c:pt idx="329">
                  <c:v>8.5708599999999996E-2</c:v>
                </c:pt>
                <c:pt idx="330">
                  <c:v>8.5708599999999996E-2</c:v>
                </c:pt>
                <c:pt idx="331">
                  <c:v>8.5708599999999996E-2</c:v>
                </c:pt>
                <c:pt idx="332">
                  <c:v>8.5708599999999996E-2</c:v>
                </c:pt>
                <c:pt idx="333">
                  <c:v>8.5708599999999996E-2</c:v>
                </c:pt>
                <c:pt idx="334">
                  <c:v>8.5708599999999996E-2</c:v>
                </c:pt>
                <c:pt idx="335">
                  <c:v>8.5708599999999996E-2</c:v>
                </c:pt>
                <c:pt idx="336">
                  <c:v>8.5708599999999996E-2</c:v>
                </c:pt>
                <c:pt idx="337">
                  <c:v>8.5708599999999996E-2</c:v>
                </c:pt>
                <c:pt idx="338">
                  <c:v>8.5708599999999996E-2</c:v>
                </c:pt>
                <c:pt idx="339">
                  <c:v>8.5708599999999996E-2</c:v>
                </c:pt>
                <c:pt idx="340">
                  <c:v>8.5708599999999996E-2</c:v>
                </c:pt>
                <c:pt idx="341">
                  <c:v>8.5708599999999996E-2</c:v>
                </c:pt>
                <c:pt idx="342">
                  <c:v>8.5708599999999996E-2</c:v>
                </c:pt>
                <c:pt idx="343">
                  <c:v>8.5708599999999996E-2</c:v>
                </c:pt>
                <c:pt idx="344">
                  <c:v>8.5708599999999996E-2</c:v>
                </c:pt>
                <c:pt idx="345">
                  <c:v>8.5708599999999996E-2</c:v>
                </c:pt>
                <c:pt idx="346">
                  <c:v>8.5708599999999996E-2</c:v>
                </c:pt>
                <c:pt idx="347">
                  <c:v>8.5708599999999996E-2</c:v>
                </c:pt>
                <c:pt idx="348">
                  <c:v>8.5708599999999996E-2</c:v>
                </c:pt>
                <c:pt idx="349">
                  <c:v>8.5708599999999996E-2</c:v>
                </c:pt>
                <c:pt idx="350">
                  <c:v>8.5708599999999996E-2</c:v>
                </c:pt>
                <c:pt idx="351">
                  <c:v>8.5708599999999996E-2</c:v>
                </c:pt>
                <c:pt idx="352">
                  <c:v>8.5708599999999996E-2</c:v>
                </c:pt>
                <c:pt idx="353">
                  <c:v>8.5708599999999996E-2</c:v>
                </c:pt>
                <c:pt idx="354">
                  <c:v>8.5708599999999996E-2</c:v>
                </c:pt>
                <c:pt idx="355">
                  <c:v>8.5708599999999996E-2</c:v>
                </c:pt>
                <c:pt idx="356">
                  <c:v>8.5708599999999996E-2</c:v>
                </c:pt>
                <c:pt idx="357">
                  <c:v>8.5708599999999996E-2</c:v>
                </c:pt>
                <c:pt idx="358">
                  <c:v>8.5708599999999996E-2</c:v>
                </c:pt>
                <c:pt idx="359">
                  <c:v>8.5708599999999996E-2</c:v>
                </c:pt>
                <c:pt idx="360">
                  <c:v>8.5708599999999996E-2</c:v>
                </c:pt>
                <c:pt idx="361">
                  <c:v>8.5708599999999996E-2</c:v>
                </c:pt>
                <c:pt idx="362">
                  <c:v>8.5708599999999996E-2</c:v>
                </c:pt>
                <c:pt idx="363">
                  <c:v>8.5708599999999996E-2</c:v>
                </c:pt>
                <c:pt idx="364">
                  <c:v>8.5708599999999996E-2</c:v>
                </c:pt>
                <c:pt idx="365">
                  <c:v>8.5708599999999996E-2</c:v>
                </c:pt>
                <c:pt idx="366">
                  <c:v>8.5708599999999996E-2</c:v>
                </c:pt>
                <c:pt idx="367">
                  <c:v>8.5708599999999996E-2</c:v>
                </c:pt>
                <c:pt idx="368">
                  <c:v>8.5708599999999996E-2</c:v>
                </c:pt>
                <c:pt idx="369">
                  <c:v>8.5708599999999996E-2</c:v>
                </c:pt>
                <c:pt idx="370">
                  <c:v>8.5708599999999996E-2</c:v>
                </c:pt>
                <c:pt idx="371">
                  <c:v>8.5708599999999996E-2</c:v>
                </c:pt>
                <c:pt idx="372">
                  <c:v>8.5708599999999996E-2</c:v>
                </c:pt>
                <c:pt idx="373">
                  <c:v>8.5708599999999996E-2</c:v>
                </c:pt>
                <c:pt idx="374">
                  <c:v>8.5708599999999996E-2</c:v>
                </c:pt>
                <c:pt idx="375">
                  <c:v>8.5708599999999996E-2</c:v>
                </c:pt>
                <c:pt idx="376">
                  <c:v>8.5708599999999996E-2</c:v>
                </c:pt>
                <c:pt idx="377">
                  <c:v>8.5708599999999996E-2</c:v>
                </c:pt>
                <c:pt idx="378">
                  <c:v>8.5708599999999996E-2</c:v>
                </c:pt>
                <c:pt idx="379">
                  <c:v>8.5708599999999996E-2</c:v>
                </c:pt>
                <c:pt idx="380">
                  <c:v>8.5708599999999996E-2</c:v>
                </c:pt>
                <c:pt idx="381">
                  <c:v>8.5708599999999996E-2</c:v>
                </c:pt>
                <c:pt idx="382">
                  <c:v>8.5708599999999996E-2</c:v>
                </c:pt>
                <c:pt idx="383">
                  <c:v>8.5708599999999996E-2</c:v>
                </c:pt>
                <c:pt idx="384">
                  <c:v>8.5708599999999996E-2</c:v>
                </c:pt>
                <c:pt idx="385">
                  <c:v>8.5708599999999996E-2</c:v>
                </c:pt>
                <c:pt idx="386">
                  <c:v>8.5708599999999996E-2</c:v>
                </c:pt>
                <c:pt idx="387">
                  <c:v>8.5708599999999996E-2</c:v>
                </c:pt>
                <c:pt idx="388">
                  <c:v>8.5708599999999996E-2</c:v>
                </c:pt>
                <c:pt idx="389">
                  <c:v>8.5708599999999996E-2</c:v>
                </c:pt>
                <c:pt idx="390">
                  <c:v>8.5708599999999996E-2</c:v>
                </c:pt>
                <c:pt idx="391">
                  <c:v>8.5708599999999996E-2</c:v>
                </c:pt>
                <c:pt idx="392">
                  <c:v>8.5708599999999996E-2</c:v>
                </c:pt>
                <c:pt idx="393">
                  <c:v>8.5708599999999996E-2</c:v>
                </c:pt>
                <c:pt idx="394">
                  <c:v>8.5708599999999996E-2</c:v>
                </c:pt>
                <c:pt idx="395">
                  <c:v>8.5708599999999996E-2</c:v>
                </c:pt>
                <c:pt idx="396">
                  <c:v>8.5708599999999996E-2</c:v>
                </c:pt>
              </c:numCache>
            </c:numRef>
          </c:val>
          <c:smooth val="0"/>
          <c:extLst>
            <c:ext xmlns:c16="http://schemas.microsoft.com/office/drawing/2014/chart" uri="{C3380CC4-5D6E-409C-BE32-E72D297353CC}">
              <c16:uniqueId val="{00000006-3298-4AFE-9546-33D707467B25}"/>
            </c:ext>
          </c:extLst>
        </c:ser>
        <c:dLbls>
          <c:showLegendKey val="0"/>
          <c:showVal val="0"/>
          <c:showCatName val="0"/>
          <c:showSerName val="0"/>
          <c:showPercent val="0"/>
          <c:showBubbleSize val="0"/>
        </c:dLbls>
        <c:marker val="1"/>
        <c:smooth val="0"/>
        <c:axId val="833076096"/>
        <c:axId val="711519840"/>
      </c:lineChart>
      <c:dateAx>
        <c:axId val="833076096"/>
        <c:scaling>
          <c:orientation val="minMax"/>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11519840"/>
        <c:crosses val="autoZero"/>
        <c:auto val="1"/>
        <c:lblOffset val="100"/>
        <c:baseTimeUnit val="months"/>
        <c:majorUnit val="60"/>
        <c:majorTimeUnit val="months"/>
      </c:dateAx>
      <c:valAx>
        <c:axId val="711519840"/>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33076096"/>
        <c:crosses val="autoZero"/>
        <c:crossBetween val="between"/>
      </c:valAx>
      <c:spPr>
        <a:noFill/>
        <a:ln>
          <a:noFill/>
        </a:ln>
        <a:effectLst/>
      </c:spPr>
    </c:plotArea>
    <c:legend>
      <c:legendPos val="b"/>
      <c:layout>
        <c:manualLayout>
          <c:xMode val="edge"/>
          <c:yMode val="edge"/>
          <c:x val="0.12482380615852144"/>
          <c:y val="0.89660907555234959"/>
          <c:w val="0.77020144356955378"/>
          <c:h val="4.9201269181611287E-2"/>
        </c:manualLayout>
      </c:layout>
      <c:overlay val="1"/>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762</cdr:x>
      <cdr:y>0.9002</cdr:y>
    </cdr:from>
    <cdr:to>
      <cdr:x>1</cdr:x>
      <cdr:y>1</cdr:y>
    </cdr:to>
    <cdr:sp macro="" textlink="">
      <cdr:nvSpPr>
        <cdr:cNvPr id="2" name="TextBox 1"/>
        <cdr:cNvSpPr txBox="1"/>
      </cdr:nvSpPr>
      <cdr:spPr>
        <a:xfrm xmlns:a="http://schemas.openxmlformats.org/drawingml/2006/main">
          <a:off x="552450" y="3797890"/>
          <a:ext cx="6697346" cy="421050"/>
        </a:xfrm>
        <a:prstGeom xmlns:a="http://schemas.openxmlformats.org/drawingml/2006/main" prst="rect">
          <a:avLst/>
        </a:prstGeom>
      </cdr:spPr>
      <cdr:txBody>
        <a:bodyPr xmlns:a="http://schemas.openxmlformats.org/drawingml/2006/main" vertOverflow="clip" wrap="square" rtlCol="0" anchor="b"/>
        <a:lstStyle xmlns:a="http://schemas.openxmlformats.org/drawingml/2006/main"/>
        <a:p xmlns:a="http://schemas.openxmlformats.org/drawingml/2006/main">
          <a:endParaRPr lang="en-US" sz="80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1118</cdr:x>
      <cdr:y>0.52734</cdr:y>
    </cdr:from>
    <cdr:to>
      <cdr:x>0.78449</cdr:x>
      <cdr:y>0.77812</cdr:y>
    </cdr:to>
    <cdr:cxnSp macro="">
      <cdr:nvCxnSpPr>
        <cdr:cNvPr id="2" name="Straight Arrow Connector 1">
          <a:extLst xmlns:a="http://schemas.openxmlformats.org/drawingml/2006/main">
            <a:ext uri="{FF2B5EF4-FFF2-40B4-BE49-F238E27FC236}">
              <a16:creationId xmlns:a16="http://schemas.microsoft.com/office/drawing/2014/main" id="{6EDAA5A7-D4D8-9EA0-8518-35A1A3691E76}"/>
            </a:ext>
          </a:extLst>
        </cdr:cNvPr>
        <cdr:cNvCxnSpPr/>
      </cdr:nvCxnSpPr>
      <cdr:spPr>
        <a:xfrm xmlns:a="http://schemas.openxmlformats.org/drawingml/2006/main" flipV="1">
          <a:off x="1969047" y="2900790"/>
          <a:ext cx="5345496" cy="1379483"/>
        </a:xfrm>
        <a:prstGeom xmlns:a="http://schemas.openxmlformats.org/drawingml/2006/main" prst="straightConnector1">
          <a:avLst/>
        </a:prstGeom>
        <a:ln xmlns:a="http://schemas.openxmlformats.org/drawingml/2006/main" w="19050">
          <a:solidFill>
            <a:schemeClr val="accent2"/>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1118</cdr:x>
      <cdr:y>0.20342</cdr:y>
    </cdr:from>
    <cdr:to>
      <cdr:x>0.78449</cdr:x>
      <cdr:y>0.39299</cdr:y>
    </cdr:to>
    <cdr:cxnSp macro="">
      <cdr:nvCxnSpPr>
        <cdr:cNvPr id="3" name="Straight Arrow Connector 2">
          <a:extLst xmlns:a="http://schemas.openxmlformats.org/drawingml/2006/main">
            <a:ext uri="{FF2B5EF4-FFF2-40B4-BE49-F238E27FC236}">
              <a16:creationId xmlns:a16="http://schemas.microsoft.com/office/drawing/2014/main" id="{0D9DE463-808F-28AC-6EB5-2C5294467067}"/>
            </a:ext>
          </a:extLst>
        </cdr:cNvPr>
        <cdr:cNvCxnSpPr/>
      </cdr:nvCxnSpPr>
      <cdr:spPr>
        <a:xfrm xmlns:a="http://schemas.openxmlformats.org/drawingml/2006/main">
          <a:off x="1969047" y="1118958"/>
          <a:ext cx="5345496" cy="1042823"/>
        </a:xfrm>
        <a:prstGeom xmlns:a="http://schemas.openxmlformats.org/drawingml/2006/main" prst="straightConnector1">
          <a:avLst/>
        </a:prstGeom>
        <a:ln xmlns:a="http://schemas.openxmlformats.org/drawingml/2006/main" w="19050">
          <a:solidFill>
            <a:schemeClr val="accent2"/>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cdr:y>
    </cdr:from>
    <cdr:to>
      <cdr:x>1</cdr:x>
      <cdr:y>0.06008</cdr:y>
    </cdr:to>
    <cdr:sp macro="" textlink="">
      <cdr:nvSpPr>
        <cdr:cNvPr id="10" name="TextBox 9">
          <a:extLst xmlns:a="http://schemas.openxmlformats.org/drawingml/2006/main">
            <a:ext uri="{FF2B5EF4-FFF2-40B4-BE49-F238E27FC236}">
              <a16:creationId xmlns:a16="http://schemas.microsoft.com/office/drawing/2014/main" id="{800D5343-A610-E6B5-ACC0-FE670EC7D1BA}"/>
            </a:ext>
          </a:extLst>
        </cdr:cNvPr>
        <cdr:cNvSpPr txBox="1"/>
      </cdr:nvSpPr>
      <cdr:spPr>
        <a:xfrm xmlns:a="http://schemas.openxmlformats.org/drawingml/2006/main">
          <a:off x="0" y="0"/>
          <a:ext cx="9320419" cy="3174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1" dirty="0"/>
            <a:t>A diversified portfolio tends to have lower volatility over time</a:t>
          </a:r>
          <a:endParaRPr lang="en-US" sz="1200" baseline="0" dirty="0">
            <a:effectLst/>
            <a:latin typeface="+mn-lt"/>
            <a:ea typeface="+mn-ea"/>
            <a:cs typeface="+mn-cs"/>
          </a:endParaRPr>
        </a:p>
      </cdr:txBody>
    </cdr:sp>
  </cdr:relSizeAnchor>
  <cdr:relSizeAnchor xmlns:cdr="http://schemas.openxmlformats.org/drawingml/2006/chartDrawing">
    <cdr:from>
      <cdr:x>0.0702</cdr:x>
      <cdr:y>0.20401</cdr:y>
    </cdr:from>
    <cdr:to>
      <cdr:x>0.21092</cdr:x>
      <cdr:y>0.77961</cdr:y>
    </cdr:to>
    <cdr:sp macro="" textlink="">
      <cdr:nvSpPr>
        <cdr:cNvPr id="13" name="Rectangle 12">
          <a:extLst xmlns:a="http://schemas.openxmlformats.org/drawingml/2006/main">
            <a:ext uri="{FF2B5EF4-FFF2-40B4-BE49-F238E27FC236}">
              <a16:creationId xmlns:a16="http://schemas.microsoft.com/office/drawing/2014/main" id="{EA2B6DE6-1812-C249-ED44-B50FE7CA7C25}"/>
            </a:ext>
          </a:extLst>
        </cdr:cNvPr>
        <cdr:cNvSpPr/>
      </cdr:nvSpPr>
      <cdr:spPr>
        <a:xfrm xmlns:a="http://schemas.openxmlformats.org/drawingml/2006/main">
          <a:off x="654544" y="1122215"/>
          <a:ext cx="1312072" cy="3166269"/>
        </a:xfrm>
        <a:prstGeom xmlns:a="http://schemas.openxmlformats.org/drawingml/2006/main" prst="rect">
          <a:avLst/>
        </a:prstGeom>
        <a:noFill xmlns:a="http://schemas.openxmlformats.org/drawingml/2006/main"/>
        <a:ln xmlns:a="http://schemas.openxmlformats.org/drawingml/2006/main" w="19050">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dr:relSizeAnchor xmlns:cdr="http://schemas.openxmlformats.org/drawingml/2006/chartDrawing">
    <cdr:from>
      <cdr:x>0</cdr:x>
      <cdr:y>0.09905</cdr:y>
    </cdr:from>
    <cdr:to>
      <cdr:x>0.2912</cdr:x>
      <cdr:y>0.21945</cdr:y>
    </cdr:to>
    <cdr:sp macro="" textlink="">
      <cdr:nvSpPr>
        <cdr:cNvPr id="17" name="TextBox 16">
          <a:extLst xmlns:a="http://schemas.openxmlformats.org/drawingml/2006/main">
            <a:ext uri="{FF2B5EF4-FFF2-40B4-BE49-F238E27FC236}">
              <a16:creationId xmlns:a16="http://schemas.microsoft.com/office/drawing/2014/main" id="{3FBF00A9-B8A6-2045-8296-0F0C3EA4B2E6}"/>
            </a:ext>
          </a:extLst>
        </cdr:cNvPr>
        <cdr:cNvSpPr txBox="1"/>
      </cdr:nvSpPr>
      <cdr:spPr>
        <a:xfrm xmlns:a="http://schemas.openxmlformats.org/drawingml/2006/main">
          <a:off x="0" y="414019"/>
          <a:ext cx="3221392" cy="5032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dirty="0"/>
            <a:t>Wider range of outcomes</a:t>
          </a:r>
        </a:p>
        <a:p xmlns:a="http://schemas.openxmlformats.org/drawingml/2006/main">
          <a:pPr algn="ctr"/>
          <a:r>
            <a:rPr lang="en-US" sz="1000" dirty="0"/>
            <a:t>(87% difference)</a:t>
          </a:r>
        </a:p>
      </cdr:txBody>
    </cdr:sp>
  </cdr:relSizeAnchor>
  <cdr:relSizeAnchor xmlns:cdr="http://schemas.openxmlformats.org/drawingml/2006/chartDrawing">
    <cdr:from>
      <cdr:x>0.70302</cdr:x>
      <cdr:y>0.24294</cdr:y>
    </cdr:from>
    <cdr:to>
      <cdr:x>1</cdr:x>
      <cdr:y>0.32396</cdr:y>
    </cdr:to>
    <cdr:sp macro="" textlink="">
      <cdr:nvSpPr>
        <cdr:cNvPr id="25" name="TextBox 24">
          <a:extLst xmlns:a="http://schemas.openxmlformats.org/drawingml/2006/main">
            <a:ext uri="{FF2B5EF4-FFF2-40B4-BE49-F238E27FC236}">
              <a16:creationId xmlns:a16="http://schemas.microsoft.com/office/drawing/2014/main" id="{61D34317-0E4D-87D8-8C57-D7EA417782F0}"/>
            </a:ext>
          </a:extLst>
        </cdr:cNvPr>
        <cdr:cNvSpPr txBox="1"/>
      </cdr:nvSpPr>
      <cdr:spPr>
        <a:xfrm xmlns:a="http://schemas.openxmlformats.org/drawingml/2006/main">
          <a:off x="6552441" y="1283631"/>
          <a:ext cx="2767978" cy="4280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a:t>Narrower range of outcomes</a:t>
          </a:r>
        </a:p>
        <a:p xmlns:a="http://schemas.openxmlformats.org/drawingml/2006/main">
          <a:pPr algn="ctr"/>
          <a:r>
            <a:rPr lang="en-US" sz="1000"/>
            <a:t>(2% difference)</a:t>
          </a:r>
        </a:p>
      </cdr:txBody>
    </cdr:sp>
  </cdr:relSizeAnchor>
  <cdr:relSizeAnchor xmlns:cdr="http://schemas.openxmlformats.org/drawingml/2006/chartDrawing">
    <cdr:from>
      <cdr:x>0.78608</cdr:x>
      <cdr:y>0.39553</cdr:y>
    </cdr:from>
    <cdr:to>
      <cdr:x>0.9268</cdr:x>
      <cdr:y>0.52762</cdr:y>
    </cdr:to>
    <cdr:sp macro="" textlink="">
      <cdr:nvSpPr>
        <cdr:cNvPr id="26" name="Rectangle 25">
          <a:extLst xmlns:a="http://schemas.openxmlformats.org/drawingml/2006/main">
            <a:ext uri="{FF2B5EF4-FFF2-40B4-BE49-F238E27FC236}">
              <a16:creationId xmlns:a16="http://schemas.microsoft.com/office/drawing/2014/main" id="{86980024-ABA5-3881-86AA-B1536BE56792}"/>
            </a:ext>
          </a:extLst>
        </cdr:cNvPr>
        <cdr:cNvSpPr/>
      </cdr:nvSpPr>
      <cdr:spPr>
        <a:xfrm xmlns:a="http://schemas.openxmlformats.org/drawingml/2006/main">
          <a:off x="7329413" y="2175717"/>
          <a:ext cx="1312072" cy="726597"/>
        </a:xfrm>
        <a:prstGeom xmlns:a="http://schemas.openxmlformats.org/drawingml/2006/main" prst="rect">
          <a:avLst/>
        </a:prstGeom>
        <a:noFill xmlns:a="http://schemas.openxmlformats.org/drawingml/2006/main"/>
        <a:ln xmlns:a="http://schemas.openxmlformats.org/drawingml/2006/main" w="19050">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718644-737D-43E6-AB63-4A0D72D612B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55DD514-52B2-4A20-B455-6C93CA0B03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B98BE9-1DF9-4F13-8080-3D34EC7F0DCC}" type="datetimeFigureOut">
              <a:rPr lang="en-US" smtClean="0"/>
              <a:t>04/03/24</a:t>
            </a:fld>
            <a:endParaRPr lang="en-US" dirty="0"/>
          </a:p>
        </p:txBody>
      </p:sp>
      <p:sp>
        <p:nvSpPr>
          <p:cNvPr id="4" name="Footer Placeholder 3">
            <a:extLst>
              <a:ext uri="{FF2B5EF4-FFF2-40B4-BE49-F238E27FC236}">
                <a16:creationId xmlns:a16="http://schemas.microsoft.com/office/drawing/2014/main" id="{A0DCCAA0-9260-4B93-879D-E3DA39A7AF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221F7F6-A6FF-4ADE-AF5F-BC6F8B9A4AC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B2F9B1C-8D71-413B-8AE0-A66A1D16BA7B}" type="slidenum">
              <a:rPr lang="en-US" smtClean="0"/>
              <a:t>‹#›</a:t>
            </a:fld>
            <a:endParaRPr lang="en-US" dirty="0"/>
          </a:p>
        </p:txBody>
      </p:sp>
      <p:pic>
        <p:nvPicPr>
          <p:cNvPr id="6" name="Picture 5">
            <a:extLst>
              <a:ext uri="{FF2B5EF4-FFF2-40B4-BE49-F238E27FC236}">
                <a16:creationId xmlns:a16="http://schemas.microsoft.com/office/drawing/2014/main" id="{A1B363D0-BAE8-4E30-968C-B30621B7FD5D}"/>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3328279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77368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4084320" y="0"/>
            <a:ext cx="2773680" cy="457200"/>
          </a:xfrm>
          <a:prstGeom prst="rect">
            <a:avLst/>
          </a:prstGeom>
        </p:spPr>
        <p:txBody>
          <a:bodyPr vert="horz" lIns="91440" tIns="45720" rIns="91440" bIns="45720" rtlCol="0"/>
          <a:lstStyle>
            <a:lvl1pPr algn="r">
              <a:defRPr sz="1200"/>
            </a:lvl1pPr>
          </a:lstStyle>
          <a:p>
            <a:fld id="{22DAF281-D5C0-44A6-919B-4BDDA8A72803}" type="datetimeFigureOut">
              <a:rPr lang="en-CA" smtClean="0"/>
              <a:t>2024-04-03</a:t>
            </a:fld>
            <a:endParaRPr lang="en-CA" dirty="0"/>
          </a:p>
        </p:txBody>
      </p:sp>
      <p:sp>
        <p:nvSpPr>
          <p:cNvPr id="4" name="Slide Image Placeholder 3"/>
          <p:cNvSpPr>
            <a:spLocks noGrp="1" noRot="1" noChangeAspect="1"/>
          </p:cNvSpPr>
          <p:nvPr>
            <p:ph type="sldImg" idx="2"/>
          </p:nvPr>
        </p:nvSpPr>
        <p:spPr>
          <a:xfrm>
            <a:off x="685800" y="1143000"/>
            <a:ext cx="5486400" cy="3087338"/>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398264"/>
            <a:ext cx="5486400" cy="3602736"/>
          </a:xfrm>
          <a:prstGeom prst="rect">
            <a:avLst/>
          </a:prstGeom>
        </p:spPr>
        <p:txBody>
          <a:bodyPr vert="horz" lIns="91440" tIns="45720" rIns="91440" bIns="45720" rtlCol="0"/>
          <a:lstStyle/>
          <a:p>
            <a:pPr lvl="0"/>
            <a:r>
              <a:rPr lang="en-CA"/>
              <a:t>Edit Master text styles</a:t>
            </a:r>
          </a:p>
          <a:p>
            <a:pPr lvl="1"/>
            <a:r>
              <a:rPr lang="en-CA"/>
              <a:t>Second level</a:t>
            </a:r>
          </a:p>
          <a:p>
            <a:pPr lvl="2"/>
            <a:r>
              <a:rPr lang="en-CA"/>
              <a:t>Third level</a:t>
            </a:r>
          </a:p>
          <a:p>
            <a:pPr lvl="3"/>
            <a:r>
              <a:rPr lang="en-CA"/>
              <a:t>Fourth level</a:t>
            </a:r>
          </a:p>
          <a:p>
            <a:pPr lvl="4"/>
            <a:r>
              <a:rPr lang="en-CA"/>
              <a:t>Fifth level</a:t>
            </a:r>
          </a:p>
        </p:txBody>
      </p:sp>
      <p:sp>
        <p:nvSpPr>
          <p:cNvPr id="6" name="Footer Placeholder 5"/>
          <p:cNvSpPr>
            <a:spLocks noGrp="1"/>
          </p:cNvSpPr>
          <p:nvPr>
            <p:ph type="ftr" sz="quarter" idx="4"/>
          </p:nvPr>
        </p:nvSpPr>
        <p:spPr>
          <a:xfrm>
            <a:off x="0" y="8676683"/>
            <a:ext cx="2773680" cy="457200"/>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4084320" y="8676683"/>
            <a:ext cx="2773680" cy="457200"/>
          </a:xfrm>
          <a:prstGeom prst="rect">
            <a:avLst/>
          </a:prstGeom>
        </p:spPr>
        <p:txBody>
          <a:bodyPr vert="horz" lIns="91440" tIns="45720" rIns="91440" bIns="45720" rtlCol="0" anchor="b"/>
          <a:lstStyle>
            <a:lvl1pPr algn="r">
              <a:defRPr sz="1200"/>
            </a:lvl1pPr>
          </a:lstStyle>
          <a:p>
            <a:fld id="{1FF71800-7E42-4FD9-88C0-C7DD9972A17A}" type="slidenum">
              <a:rPr lang="en-CA" smtClean="0"/>
              <a:t>‹#›</a:t>
            </a:fld>
            <a:endParaRPr lang="en-CA" dirty="0"/>
          </a:p>
        </p:txBody>
      </p:sp>
      <p:pic>
        <p:nvPicPr>
          <p:cNvPr id="8" name="Picture 7">
            <a:extLst>
              <a:ext uri="{FF2B5EF4-FFF2-40B4-BE49-F238E27FC236}">
                <a16:creationId xmlns:a16="http://schemas.microsoft.com/office/drawing/2014/main" id="{8E12A3C9-2089-46C7-97D9-9199F279E422}"/>
              </a:ext>
            </a:extLst>
          </p:cNvPr>
          <p:cNvPicPr>
            <a:picLocks noChangeAspect="1"/>
          </p:cNvPicPr>
          <p:nvPr/>
        </p:nvPicPr>
        <p:blipFill>
          <a:blip r:embed="rId2"/>
          <a:stretch>
            <a:fillRect/>
          </a:stretch>
        </p:blipFill>
        <p:spPr>
          <a:xfrm>
            <a:off x="3137638" y="63868"/>
            <a:ext cx="728379" cy="789839"/>
          </a:xfrm>
          <a:prstGeom prst="rect">
            <a:avLst/>
          </a:prstGeom>
        </p:spPr>
      </p:pic>
    </p:spTree>
    <p:extLst>
      <p:ext uri="{BB962C8B-B14F-4D97-AF65-F5344CB8AC3E}">
        <p14:creationId xmlns:p14="http://schemas.microsoft.com/office/powerpoint/2010/main" val="2556950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rbcgam.com/documents/en/advisor-support/staying-the-course.pdf"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1</a:t>
            </a:fld>
            <a:endParaRPr lang="en-CA" dirty="0"/>
          </a:p>
        </p:txBody>
      </p:sp>
    </p:spTree>
    <p:extLst>
      <p:ext uri="{BB962C8B-B14F-4D97-AF65-F5344CB8AC3E}">
        <p14:creationId xmlns:p14="http://schemas.microsoft.com/office/powerpoint/2010/main" val="653659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r>
              <a:rPr lang="en-US" dirty="0">
                <a:hlinkClick r:id="rId3"/>
              </a:rPr>
              <a:t>Staying the Course (rbcgam.com)</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9F0C2E-4873-4046-BE80-761F868F490A}"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937162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F71800-7E42-4FD9-88C0-C7DD9972A17A}" type="slidenum">
              <a:rPr lang="en-CA" smtClean="0"/>
              <a:t>3</a:t>
            </a:fld>
            <a:endParaRPr lang="en-CA" dirty="0"/>
          </a:p>
        </p:txBody>
      </p:sp>
    </p:spTree>
    <p:extLst>
      <p:ext uri="{BB962C8B-B14F-4D97-AF65-F5344CB8AC3E}">
        <p14:creationId xmlns:p14="http://schemas.microsoft.com/office/powerpoint/2010/main" val="2583224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4</a:t>
            </a:fld>
            <a:endParaRPr lang="en-CA"/>
          </a:p>
        </p:txBody>
      </p:sp>
    </p:spTree>
    <p:extLst>
      <p:ext uri="{BB962C8B-B14F-4D97-AF65-F5344CB8AC3E}">
        <p14:creationId xmlns:p14="http://schemas.microsoft.com/office/powerpoint/2010/main" val="2738934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F71800-7E42-4FD9-88C0-C7DD9972A17A}" type="slidenum">
              <a:rPr kumimoji="0" lang="en-CA" sz="13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CA" sz="13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75777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76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F71800-7E42-4FD9-88C0-C7DD9972A17A}" type="slidenum">
              <a:rPr lang="en-CA" smtClean="0"/>
              <a:t>6</a:t>
            </a:fld>
            <a:endParaRPr lang="en-CA" dirty="0"/>
          </a:p>
        </p:txBody>
      </p:sp>
    </p:spTree>
    <p:extLst>
      <p:ext uri="{BB962C8B-B14F-4D97-AF65-F5344CB8AC3E}">
        <p14:creationId xmlns:p14="http://schemas.microsoft.com/office/powerpoint/2010/main" val="39789944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0.jpe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2"/>
          <a:stretch>
            <a:fillRect/>
          </a:stretch>
        </p:blipFill>
        <p:spPr>
          <a:xfrm>
            <a:off x="-18288"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4"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April 3, 2024</a:t>
            </a:fld>
            <a:endParaRPr lang="en-CA" dirty="0"/>
          </a:p>
        </p:txBody>
      </p:sp>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Tree>
    <p:extLst>
      <p:ext uri="{BB962C8B-B14F-4D97-AF65-F5344CB8AC3E}">
        <p14:creationId xmlns:p14="http://schemas.microsoft.com/office/powerpoint/2010/main" val="12646872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2" name="Title 1">
            <a:extLst>
              <a:ext uri="{FF2B5EF4-FFF2-40B4-BE49-F238E27FC236}">
                <a16:creationId xmlns:a16="http://schemas.microsoft.com/office/drawing/2014/main" id="{63496AF6-6143-470F-B5DE-71E5730DB232}"/>
              </a:ext>
            </a:extLst>
          </p:cNvPr>
          <p:cNvSpPr>
            <a:spLocks noGrp="1"/>
          </p:cNvSpPr>
          <p:nvPr>
            <p:ph type="title"/>
          </p:nvPr>
        </p:nvSpPr>
        <p:spPr/>
        <p:txBody>
          <a:bodyPr/>
          <a:lstStyle/>
          <a:p>
            <a:r>
              <a:rPr lang="en-US"/>
              <a:t>Click to edit Master title style</a:t>
            </a:r>
            <a:endParaRPr lang="en-CA" dirty="0"/>
          </a:p>
        </p:txBody>
      </p:sp>
      <p:sp>
        <p:nvSpPr>
          <p:cNvPr id="8"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3422788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6D700B0B-943A-4C8C-924F-3A6D26991E0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4" name="Content Placeholder 3">
            <a:extLst>
              <a:ext uri="{FF2B5EF4-FFF2-40B4-BE49-F238E27FC236}">
                <a16:creationId xmlns:a16="http://schemas.microsoft.com/office/drawing/2014/main" id="{4189D61D-B2CB-4351-B2CE-BEC948C2206F}"/>
              </a:ext>
            </a:extLst>
          </p:cNvPr>
          <p:cNvSpPr>
            <a:spLocks noGrp="1"/>
          </p:cNvSpPr>
          <p:nvPr>
            <p:ph sz="half" idx="2"/>
          </p:nvPr>
        </p:nvSpPr>
        <p:spPr>
          <a:xfrm>
            <a:off x="5912491"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3" name="Content Placeholder 2">
            <a:extLst>
              <a:ext uri="{FF2B5EF4-FFF2-40B4-BE49-F238E27FC236}">
                <a16:creationId xmlns:a16="http://schemas.microsoft.com/office/drawing/2014/main" id="{C2A4F0DE-4595-46BE-9D30-0A5CE9DEA5F3}"/>
              </a:ext>
            </a:extLst>
          </p:cNvPr>
          <p:cNvSpPr>
            <a:spLocks noGrp="1"/>
          </p:cNvSpPr>
          <p:nvPr>
            <p:ph sz="half" idx="1"/>
          </p:nvPr>
        </p:nvSpPr>
        <p:spPr>
          <a:xfrm>
            <a:off x="685800" y="1409700"/>
            <a:ext cx="4983480" cy="4533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8"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9"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1"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652ECCA9-C2A0-494B-B4A6-01B3147F6D95}"/>
              </a:ext>
            </a:extLst>
          </p:cNvPr>
          <p:cNvSpPr>
            <a:spLocks noGrp="1"/>
          </p:cNvSpPr>
          <p:nvPr>
            <p:ph type="title"/>
          </p:nvPr>
        </p:nvSpPr>
        <p:spPr>
          <a:xfrm>
            <a:off x="685800" y="365760"/>
            <a:ext cx="10213848" cy="795528"/>
          </a:xfrm>
        </p:spPr>
        <p:txBody>
          <a:bodyPr/>
          <a:lstStyle/>
          <a:p>
            <a:r>
              <a:rPr lang="en-US"/>
              <a:t>Click to edit Master title style</a:t>
            </a:r>
            <a:endParaRPr lang="en-CA" dirty="0"/>
          </a:p>
        </p:txBody>
      </p:sp>
      <p:sp>
        <p:nvSpPr>
          <p:cNvPr id="10"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extLst>
      <p:ext uri="{BB962C8B-B14F-4D97-AF65-F5344CB8AC3E}">
        <p14:creationId xmlns:p14="http://schemas.microsoft.com/office/powerpoint/2010/main" val="2711718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E24EA7B4-4D5B-4374-8ADF-8CE8C85C558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Content Placeholder 5">
            <a:extLst>
              <a:ext uri="{FF2B5EF4-FFF2-40B4-BE49-F238E27FC236}">
                <a16:creationId xmlns:a16="http://schemas.microsoft.com/office/drawing/2014/main" id="{CD4FE6BD-C2F4-4037-8365-E720049DBE67}"/>
              </a:ext>
            </a:extLst>
          </p:cNvPr>
          <p:cNvSpPr>
            <a:spLocks noGrp="1"/>
          </p:cNvSpPr>
          <p:nvPr>
            <p:ph sz="quarter" idx="4"/>
          </p:nvPr>
        </p:nvSpPr>
        <p:spPr>
          <a:xfrm>
            <a:off x="591312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4" name="Content Placeholder 3">
            <a:extLst>
              <a:ext uri="{FF2B5EF4-FFF2-40B4-BE49-F238E27FC236}">
                <a16:creationId xmlns:a16="http://schemas.microsoft.com/office/drawing/2014/main" id="{CE54A603-8F7B-4BCB-BC2F-DB5A0E87DAA2}"/>
              </a:ext>
            </a:extLst>
          </p:cNvPr>
          <p:cNvSpPr>
            <a:spLocks noGrp="1"/>
          </p:cNvSpPr>
          <p:nvPr>
            <p:ph sz="half" idx="2"/>
          </p:nvPr>
        </p:nvSpPr>
        <p:spPr>
          <a:xfrm>
            <a:off x="685800" y="2261235"/>
            <a:ext cx="498348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Text Placeholder 4">
            <a:extLst>
              <a:ext uri="{FF2B5EF4-FFF2-40B4-BE49-F238E27FC236}">
                <a16:creationId xmlns:a16="http://schemas.microsoft.com/office/drawing/2014/main" id="{A343060D-AFB6-433C-BE73-1F04E14AC8FD}"/>
              </a:ext>
            </a:extLst>
          </p:cNvPr>
          <p:cNvSpPr>
            <a:spLocks noGrp="1"/>
          </p:cNvSpPr>
          <p:nvPr>
            <p:ph type="body" sz="quarter" idx="3"/>
          </p:nvPr>
        </p:nvSpPr>
        <p:spPr>
          <a:xfrm>
            <a:off x="5913120" y="1414463"/>
            <a:ext cx="4983480" cy="6675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Text Placeholder 2">
            <a:extLst>
              <a:ext uri="{FF2B5EF4-FFF2-40B4-BE49-F238E27FC236}">
                <a16:creationId xmlns:a16="http://schemas.microsoft.com/office/drawing/2014/main" id="{5EF44CBC-F441-4476-A4E1-60F7D36AB932}"/>
              </a:ext>
            </a:extLst>
          </p:cNvPr>
          <p:cNvSpPr>
            <a:spLocks noGrp="1"/>
          </p:cNvSpPr>
          <p:nvPr>
            <p:ph type="body" idx="1"/>
          </p:nvPr>
        </p:nvSpPr>
        <p:spPr>
          <a:xfrm>
            <a:off x="685800" y="1414463"/>
            <a:ext cx="4983480" cy="66427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13"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2" name="Title 1">
            <a:extLst>
              <a:ext uri="{FF2B5EF4-FFF2-40B4-BE49-F238E27FC236}">
                <a16:creationId xmlns:a16="http://schemas.microsoft.com/office/drawing/2014/main" id="{D089F7DF-4377-47A2-B733-FBEECC7CECFC}"/>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2032645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31D2E5A-599D-414F-ABC5-10659C2DC5E3}"/>
              </a:ext>
            </a:extLst>
          </p:cNvPr>
          <p:cNvSpPr>
            <a:spLocks noGrp="1"/>
          </p:cNvSpPr>
          <p:nvPr>
            <p:ph type="sldNum" sz="quarter" idx="12"/>
          </p:nvPr>
        </p:nvSpPr>
        <p:spPr/>
        <p:txBody>
          <a:bodyPr/>
          <a:lstStyle/>
          <a:p>
            <a:fld id="{00D53123-EF31-4C08-A865-932FC064F9C8}" type="slidenum">
              <a:rPr lang="en-CA" smtClean="0"/>
              <a:t>‹#›</a:t>
            </a:fld>
            <a:endParaRPr lang="en-CA" dirty="0"/>
          </a:p>
        </p:txBody>
      </p:sp>
      <p:sp>
        <p:nvSpPr>
          <p:cNvPr id="6"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7"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75733" y="1034813"/>
            <a:ext cx="11072569" cy="4800011"/>
          </a:xfrm>
        </p:spPr>
        <p:txBody>
          <a:bodyPr/>
          <a:lstStyle>
            <a:lvl1pPr>
              <a:spcBef>
                <a:spcPts val="600"/>
              </a:spcBef>
              <a:spcAft>
                <a:spcPts val="1200"/>
              </a:spcAft>
              <a:defRPr/>
            </a:lvl1pPr>
            <a:lvl2pPr marL="144000" indent="-144000">
              <a:spcBef>
                <a:spcPts val="0"/>
              </a:spcBef>
              <a:spcAft>
                <a:spcPts val="1200"/>
              </a:spcAft>
              <a:buClr>
                <a:srgbClr val="002567"/>
              </a:buClr>
              <a:buFont typeface="Arial" panose="020B0604020202020204" pitchFamily="34" charset="0"/>
              <a:buChar char="•"/>
              <a:defRPr/>
            </a:lvl2pPr>
            <a:lvl3pPr marL="484187"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smtClean="0">
                <a:solidFill>
                  <a:srgbClr val="4B4F54"/>
                </a:solidFill>
                <a:latin typeface="+mn-lt"/>
                <a:ea typeface="+mn-ea"/>
                <a:cs typeface="+mn-cs"/>
              </a:defRPr>
            </a:lvl3pPr>
            <a:lvl4pPr marL="771525"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smtClean="0">
                <a:solidFill>
                  <a:srgbClr val="4B4F54"/>
                </a:solidFill>
                <a:latin typeface="+mn-lt"/>
                <a:ea typeface="+mn-ea"/>
                <a:cs typeface="+mn-cs"/>
              </a:defRPr>
            </a:lvl4pPr>
            <a:lvl5pPr marL="1057275" marR="0" indent="-28575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lang="en-US" sz="1600" kern="1200" noProof="0" dirty="0">
                <a:solidFill>
                  <a:schemeClr val="tx1"/>
                </a:solidFill>
                <a:latin typeface="+mn-lt"/>
                <a:ea typeface="+mn-ea"/>
                <a:cs typeface="+mn-cs"/>
              </a:defRPr>
            </a:lvl5pPr>
          </a:lstStyle>
          <a:p>
            <a:pPr lvl="0"/>
            <a:r>
              <a:rPr lang="en-US" dirty="0"/>
              <a:t>Click to edit Master text styles</a:t>
            </a:r>
          </a:p>
          <a:p>
            <a:pPr lvl="1"/>
            <a:r>
              <a:rPr lang="en-US" dirty="0"/>
              <a:t>Second level</a:t>
            </a:r>
          </a:p>
          <a:p>
            <a:pPr marL="396875" marR="0" lvl="2"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Third level </a:t>
            </a:r>
          </a:p>
          <a:p>
            <a:pPr marL="684213" marR="0" lvl="3"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Fourth level</a:t>
            </a:r>
          </a:p>
          <a:p>
            <a:pPr marL="969963" marR="0" lvl="4" indent="-198438" algn="l" defTabSz="914400" rtl="0" eaLnBrk="1" fontAlgn="auto" latinLnBrk="0" hangingPunct="1">
              <a:lnSpc>
                <a:spcPct val="100000"/>
              </a:lnSpc>
              <a:spcBef>
                <a:spcPts val="0"/>
              </a:spcBef>
              <a:spcAft>
                <a:spcPts val="1200"/>
              </a:spcAft>
              <a:buClr>
                <a:schemeClr val="tx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B4F54"/>
                </a:solidFill>
                <a:effectLst/>
                <a:uLnTx/>
                <a:uFillTx/>
                <a:latin typeface="+mn-lt"/>
                <a:ea typeface="+mn-ea"/>
                <a:cs typeface="+mn-cs"/>
              </a:rPr>
              <a:t>Fifth level</a:t>
            </a:r>
          </a:p>
        </p:txBody>
      </p:sp>
      <p:sp>
        <p:nvSpPr>
          <p:cNvPr id="4" name="Slide Number Placeholder 5">
            <a:extLst>
              <a:ext uri="{FF2B5EF4-FFF2-40B4-BE49-F238E27FC236}">
                <a16:creationId xmlns:a16="http://schemas.microsoft.com/office/drawing/2014/main" id="{1565CCC4-AF7B-49EE-BDA4-ACAA8915851B}"/>
              </a:ext>
            </a:extLst>
          </p:cNvPr>
          <p:cNvSpPr>
            <a:spLocks noGrp="1"/>
          </p:cNvSpPr>
          <p:nvPr>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Tree>
    <p:extLst>
      <p:ext uri="{BB962C8B-B14F-4D97-AF65-F5344CB8AC3E}">
        <p14:creationId xmlns:p14="http://schemas.microsoft.com/office/powerpoint/2010/main" val="10476090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2">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0"/>
            <a:ext cx="12198365" cy="6867144"/>
          </a:xfrm>
          <a:prstGeom prst="rect">
            <a:avLst/>
          </a:prstGeom>
        </p:spPr>
      </p:pic>
      <p:pic>
        <p:nvPicPr>
          <p:cNvPr id="15" name="Picture 14">
            <a:extLst>
              <a:ext uri="{FF2B5EF4-FFF2-40B4-BE49-F238E27FC236}">
                <a16:creationId xmlns:a16="http://schemas.microsoft.com/office/drawing/2014/main" id="{68A9B61C-7922-477A-9898-94F3BA2D8CBB}"/>
              </a:ext>
            </a:extLst>
          </p:cNvPr>
          <p:cNvPicPr>
            <a:picLocks/>
          </p:cNvPicPr>
          <p:nvPr userDrawn="1"/>
        </p:nvPicPr>
        <p:blipFill>
          <a:blip r:embed="rId4"/>
          <a:stretch>
            <a:fillRect/>
          </a:stretch>
        </p:blipFill>
        <p:spPr>
          <a:xfrm>
            <a:off x="567" y="0"/>
            <a:ext cx="12243816" cy="6912864"/>
          </a:xfrm>
          <a:prstGeom prst="rect">
            <a:avLst/>
          </a:prstGeom>
        </p:spPr>
      </p:pic>
      <p:pic>
        <p:nvPicPr>
          <p:cNvPr id="12" name="Picture 11">
            <a:extLst>
              <a:ext uri="{FF2B5EF4-FFF2-40B4-BE49-F238E27FC236}">
                <a16:creationId xmlns:a16="http://schemas.microsoft.com/office/drawing/2014/main" id="{1D2515B1-09C0-4CB7-BDBF-77B6E70A19BC}"/>
              </a:ext>
            </a:extLst>
          </p:cNvPr>
          <p:cNvPicPr>
            <a:picLocks noChangeAspect="1"/>
          </p:cNvPicPr>
          <p:nvPr userDrawn="1"/>
        </p:nvPicPr>
        <p:blipFill>
          <a:blip r:embed="rId5"/>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23238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tx2"/>
                </a:solidFill>
              </a:defRPr>
            </a:lvl1pPr>
          </a:lstStyle>
          <a:p>
            <a:r>
              <a:rPr lang="en-US" noProof="0"/>
              <a:t>Click to edit Master title style</a:t>
            </a:r>
            <a:endParaRPr lang="en-CA" noProof="0" dirty="0"/>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7"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242" y="6153912"/>
            <a:ext cx="5654675" cy="255587"/>
          </a:xfrm>
        </p:spPr>
        <p:txBody>
          <a:bodyPr>
            <a:normAutofit/>
          </a:bodyPr>
          <a:lstStyle>
            <a:lvl1pPr>
              <a:defRPr sz="1500" b="0">
                <a:solidFill>
                  <a:schemeClr val="tx1"/>
                </a:solidFill>
              </a:defRPr>
            </a:lvl1pPr>
          </a:lstStyle>
          <a:p>
            <a:pPr lvl="0"/>
            <a:r>
              <a:rPr lang="en-CA" noProof="0" dirty="0"/>
              <a:t>Presenter Name</a:t>
            </a:r>
          </a:p>
        </p:txBody>
      </p:sp>
      <p:sp>
        <p:nvSpPr>
          <p:cNvPr id="13"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tx1"/>
                </a:solidFill>
              </a:defRPr>
            </a:lvl1pPr>
          </a:lstStyle>
          <a:p>
            <a:fld id="{BA3C95CC-CD7F-EF41-9083-A720D579D4EB}" type="datetime4">
              <a:rPr lang="en-US" smtClean="0"/>
              <a:pPr/>
              <a:t>April 3, 2024</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3">
    <p:bg>
      <p:bgPr>
        <a:solidFill>
          <a:schemeClr val="accent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2"/>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23"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bg1"/>
                </a:solidFill>
                <a:effectLst/>
              </a:rPr>
              <a:t>For investment professional use only</a:t>
            </a:r>
          </a:p>
        </p:txBody>
      </p:sp>
      <p:sp>
        <p:nvSpPr>
          <p:cNvPr id="10"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April 3, 2024</a:t>
            </a:fld>
            <a:endParaRPr lang="en-CA" dirty="0"/>
          </a:p>
        </p:txBody>
      </p:sp>
    </p:spTree>
    <p:extLst>
      <p:ext uri="{BB962C8B-B14F-4D97-AF65-F5344CB8AC3E}">
        <p14:creationId xmlns:p14="http://schemas.microsoft.com/office/powerpoint/2010/main" val="23560021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4">
    <p:bg>
      <p:bgPr>
        <a:solidFill>
          <a:schemeClr val="bg1"/>
        </a:solidFill>
        <a:effectLst/>
      </p:bgPr>
    </p:bg>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465A853B-AD60-46E6-B5F6-ECB8473EF81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7432" y="0"/>
            <a:ext cx="12250858" cy="6876288"/>
          </a:xfrm>
          <a:prstGeom prst="rect">
            <a:avLst/>
          </a:prstGeom>
        </p:spPr>
      </p:pic>
      <p:pic>
        <p:nvPicPr>
          <p:cNvPr id="14" name="Picture 13">
            <a:extLst>
              <a:ext uri="{FF2B5EF4-FFF2-40B4-BE49-F238E27FC236}">
                <a16:creationId xmlns:a16="http://schemas.microsoft.com/office/drawing/2014/main" id="{6C0DA4B8-D4E3-4BD8-8379-3D512CE2A79F}"/>
              </a:ext>
            </a:extLst>
          </p:cNvPr>
          <p:cNvPicPr>
            <a:picLocks noChangeAspect="1"/>
          </p:cNvPicPr>
          <p:nvPr userDrawn="1"/>
        </p:nvPicPr>
        <p:blipFill>
          <a:blip r:embed="rId3"/>
          <a:stretch>
            <a:fillRect/>
          </a:stretch>
        </p:blipFill>
        <p:spPr>
          <a:xfrm>
            <a:off x="11265408" y="5779007"/>
            <a:ext cx="759337" cy="850392"/>
          </a:xfrm>
          <a:prstGeom prst="rect">
            <a:avLst/>
          </a:prstGeom>
        </p:spPr>
      </p:pic>
      <p:sp>
        <p:nvSpPr>
          <p:cNvPr id="13" name="Text Placeholder 12">
            <a:extLst>
              <a:ext uri="{FF2B5EF4-FFF2-40B4-BE49-F238E27FC236}">
                <a16:creationId xmlns:a16="http://schemas.microsoft.com/office/drawing/2014/main" id="{3A43A11F-E99C-49FB-8576-8507FC873D1B}"/>
              </a:ext>
            </a:extLst>
          </p:cNvPr>
          <p:cNvSpPr>
            <a:spLocks noGrp="1"/>
          </p:cNvSpPr>
          <p:nvPr>
            <p:ph type="body" sz="quarter" idx="14" hasCustomPrompt="1"/>
          </p:nvPr>
        </p:nvSpPr>
        <p:spPr>
          <a:xfrm>
            <a:off x="441325" y="6153912"/>
            <a:ext cx="5654675" cy="255587"/>
          </a:xfrm>
        </p:spPr>
        <p:txBody>
          <a:bodyPr>
            <a:normAutofit/>
          </a:bodyPr>
          <a:lstStyle>
            <a:lvl1pPr>
              <a:defRPr sz="1500" b="1">
                <a:solidFill>
                  <a:schemeClr val="bg1"/>
                </a:solidFill>
              </a:defRPr>
            </a:lvl1pPr>
          </a:lstStyle>
          <a:p>
            <a:pPr lvl="0"/>
            <a:r>
              <a:rPr lang="en-CA" dirty="0"/>
              <a:t>Presenter Name</a:t>
            </a:r>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p:nvPr>
        </p:nvSpPr>
        <p:spPr>
          <a:xfrm>
            <a:off x="441242" y="1070457"/>
            <a:ext cx="10455357" cy="1081072"/>
          </a:xfrm>
        </p:spPr>
        <p:txBody>
          <a:bodyPr anchor="t" anchorCtr="0">
            <a:normAutofit/>
          </a:bodyPr>
          <a:lstStyle>
            <a:lvl1pPr algn="l">
              <a:defRPr sz="3800">
                <a:solidFill>
                  <a:schemeClr val="bg1"/>
                </a:solidFill>
              </a:defRPr>
            </a:lvl1pPr>
          </a:lstStyle>
          <a:p>
            <a:r>
              <a:rPr lang="en-US"/>
              <a:t>Click to edit Master title style</a:t>
            </a:r>
            <a:endParaRPr lang="en-CA" dirty="0"/>
          </a:p>
        </p:txBody>
      </p:sp>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3" cy="228479"/>
          </a:xfrm>
          <a:prstGeom prst="rect">
            <a:avLst/>
          </a:prstGeom>
        </p:spPr>
      </p:pic>
      <p:pic>
        <p:nvPicPr>
          <p:cNvPr id="22" name="Picture 21"/>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7432" y="-198884"/>
            <a:ext cx="12346857" cy="5977891"/>
          </a:xfrm>
          <a:prstGeom prst="rect">
            <a:avLst/>
          </a:prstGeom>
        </p:spPr>
      </p:pic>
      <p:sp>
        <p:nvSpPr>
          <p:cNvPr id="12"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i="1" dirty="0">
                <a:solidFill>
                  <a:schemeClr val="bg1"/>
                </a:solidFill>
                <a:effectLst/>
              </a:rPr>
              <a:t>For investment professional use only</a:t>
            </a:r>
          </a:p>
        </p:txBody>
      </p:sp>
      <p:sp>
        <p:nvSpPr>
          <p:cNvPr id="15"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448056" y="6409944"/>
            <a:ext cx="3657600" cy="182880"/>
          </a:xfrm>
          <a:prstGeom prst="rect">
            <a:avLst/>
          </a:prstGeom>
        </p:spPr>
        <p:txBody>
          <a:bodyPr lIns="0" tIns="0" rIns="0" bIns="0"/>
          <a:lstStyle>
            <a:lvl1pPr>
              <a:defRPr sz="1200">
                <a:solidFill>
                  <a:schemeClr val="bg1"/>
                </a:solidFill>
              </a:defRPr>
            </a:lvl1pPr>
          </a:lstStyle>
          <a:p>
            <a:fld id="{BA3C95CC-CD7F-EF41-9083-A720D579D4EB}" type="datetime4">
              <a:rPr lang="en-US" smtClean="0"/>
              <a:pPr/>
              <a:t>April 3, 2024</a:t>
            </a:fld>
            <a:endParaRPr lang="en-C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F527DB3-560B-4C58-8B98-13AF9D85E0C8}"/>
              </a:ext>
            </a:extLst>
          </p:cNvPr>
          <p:cNvPicPr>
            <a:picLocks/>
          </p:cNvPicPr>
          <p:nvPr userDrawn="1"/>
        </p:nvPicPr>
        <p:blipFill>
          <a:blip r:embed="rId2"/>
          <a:stretch>
            <a:fillRect/>
          </a:stretch>
        </p:blipFill>
        <p:spPr>
          <a:xfrm>
            <a:off x="-9144" y="-9145"/>
            <a:ext cx="12243816" cy="6912864"/>
          </a:xfrm>
          <a:prstGeom prst="rect">
            <a:avLst/>
          </a:prstGeom>
        </p:spPr>
      </p:pic>
      <p:pic>
        <p:nvPicPr>
          <p:cNvPr id="11" name="Picture 10">
            <a:extLst>
              <a:ext uri="{FF2B5EF4-FFF2-40B4-BE49-F238E27FC236}">
                <a16:creationId xmlns:a16="http://schemas.microsoft.com/office/drawing/2014/main" id="{15B3DE7A-DD33-435A-9832-9864F84E371E}"/>
              </a:ext>
            </a:extLst>
          </p:cNvPr>
          <p:cNvPicPr>
            <a:picLocks noChangeAspect="1"/>
          </p:cNvPicPr>
          <p:nvPr userDrawn="1"/>
        </p:nvPicPr>
        <p:blipFill>
          <a:blip r:embed="rId3"/>
          <a:stretch>
            <a:fillRect/>
          </a:stretch>
        </p:blipFill>
        <p:spPr>
          <a:xfrm>
            <a:off x="11283696" y="5797296"/>
            <a:ext cx="728379" cy="789839"/>
          </a:xfrm>
          <a:prstGeom prst="rect">
            <a:avLst/>
          </a:prstGeom>
        </p:spPr>
      </p:pic>
      <p:sp>
        <p:nvSpPr>
          <p:cNvPr id="3" name="Subtitle 2">
            <a:extLst>
              <a:ext uri="{FF2B5EF4-FFF2-40B4-BE49-F238E27FC236}">
                <a16:creationId xmlns:a16="http://schemas.microsoft.com/office/drawing/2014/main" id="{52D4339A-75B0-40F3-B53E-EA57D3E1B46C}"/>
              </a:ext>
            </a:extLst>
          </p:cNvPr>
          <p:cNvSpPr>
            <a:spLocks noGrp="1"/>
          </p:cNvSpPr>
          <p:nvPr>
            <p:ph type="subTitle" idx="1"/>
          </p:nvPr>
        </p:nvSpPr>
        <p:spPr>
          <a:xfrm>
            <a:off x="441242" y="2658693"/>
            <a:ext cx="7438734" cy="770307"/>
          </a:xfrm>
        </p:spPr>
        <p:txBody>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dirty="0"/>
          </a:p>
        </p:txBody>
      </p:sp>
      <p:sp>
        <p:nvSpPr>
          <p:cNvPr id="2" name="Title 1">
            <a:extLst>
              <a:ext uri="{FF2B5EF4-FFF2-40B4-BE49-F238E27FC236}">
                <a16:creationId xmlns:a16="http://schemas.microsoft.com/office/drawing/2014/main" id="{885D8042-2A28-4C49-8368-0CD7FDB3F173}"/>
              </a:ext>
            </a:extLst>
          </p:cNvPr>
          <p:cNvSpPr>
            <a:spLocks noGrp="1"/>
          </p:cNvSpPr>
          <p:nvPr>
            <p:ph type="ctrTitle" hasCustomPrompt="1"/>
          </p:nvPr>
        </p:nvSpPr>
        <p:spPr>
          <a:xfrm>
            <a:off x="441242" y="1070457"/>
            <a:ext cx="10455357" cy="1081072"/>
          </a:xfrm>
        </p:spPr>
        <p:txBody>
          <a:bodyPr anchor="t" anchorCtr="0">
            <a:normAutofit/>
          </a:bodyPr>
          <a:lstStyle>
            <a:lvl1pPr algn="l">
              <a:defRPr sz="3800">
                <a:solidFill>
                  <a:schemeClr val="tx2"/>
                </a:solidFill>
              </a:defRPr>
            </a:lvl1pPr>
          </a:lstStyle>
          <a:p>
            <a:r>
              <a:rPr lang="en-US" dirty="0"/>
              <a:t>Section title</a:t>
            </a:r>
            <a:endParaRPr lang="en-CA" dirty="0"/>
          </a:p>
        </p:txBody>
      </p:sp>
      <p:pic>
        <p:nvPicPr>
          <p:cNvPr id="12" name="Picture 1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4"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Tree>
    <p:extLst>
      <p:ext uri="{BB962C8B-B14F-4D97-AF65-F5344CB8AC3E}">
        <p14:creationId xmlns:p14="http://schemas.microsoft.com/office/powerpoint/2010/main" val="110569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bg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5205C5E-3B53-421E-A28E-38EB4913E858}"/>
              </a:ext>
            </a:extLst>
          </p:cNvPr>
          <p:cNvPicPr>
            <a:picLocks noChangeAspect="1"/>
          </p:cNvPicPr>
          <p:nvPr userDrawn="1"/>
        </p:nvPicPr>
        <p:blipFill>
          <a:blip r:embed="rId2"/>
          <a:stretch>
            <a:fillRect/>
          </a:stretch>
        </p:blipFill>
        <p:spPr>
          <a:xfrm>
            <a:off x="11283696" y="5797296"/>
            <a:ext cx="728379" cy="789839"/>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9"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3"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US" dirty="0"/>
              <a:t>Section title</a:t>
            </a:r>
            <a:endParaRPr lang="en-CA" dirty="0"/>
          </a:p>
        </p:txBody>
      </p:sp>
    </p:spTree>
    <p:extLst>
      <p:ext uri="{BB962C8B-B14F-4D97-AF65-F5344CB8AC3E}">
        <p14:creationId xmlns:p14="http://schemas.microsoft.com/office/powerpoint/2010/main" val="25489209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C2BE687-35FE-4164-8F7E-B58CFBE33EF2}"/>
              </a:ext>
            </a:extLst>
          </p:cNvPr>
          <p:cNvPicPr>
            <a:picLocks noChangeAspect="1"/>
          </p:cNvPicPr>
          <p:nvPr userDrawn="1"/>
        </p:nvPicPr>
        <p:blipFill>
          <a:blip r:embed="rId2"/>
          <a:stretch>
            <a:fillRect/>
          </a:stretch>
        </p:blipFill>
        <p:spPr>
          <a:xfrm>
            <a:off x="11283696" y="5797296"/>
            <a:ext cx="728379" cy="789839"/>
          </a:xfrm>
          <a:prstGeom prst="rect">
            <a:avLst/>
          </a:prstGeom>
        </p:spPr>
      </p:pic>
      <p:sp>
        <p:nvSpPr>
          <p:cNvPr id="6" name="Slide Number Placeholder 5">
            <a:extLst>
              <a:ext uri="{FF2B5EF4-FFF2-40B4-BE49-F238E27FC236}">
                <a16:creationId xmlns:a16="http://schemas.microsoft.com/office/drawing/2014/main" id="{E0E418A8-3C2A-4155-8FD4-35B57A1183E2}"/>
              </a:ext>
            </a:extLst>
          </p:cNvPr>
          <p:cNvSpPr>
            <a:spLocks noGrp="1"/>
          </p:cNvSpPr>
          <p:nvPr>
            <p:ph type="sldNum" sz="quarter" idx="12"/>
          </p:nvPr>
        </p:nvSpPr>
        <p:spPr>
          <a:xfrm>
            <a:off x="5852160" y="6407602"/>
            <a:ext cx="492975" cy="182880"/>
          </a:xfrm>
        </p:spPr>
        <p:txBody>
          <a:bodyPr/>
          <a:lstStyle>
            <a:lvl1pPr>
              <a:defRPr>
                <a:solidFill>
                  <a:schemeClr val="tx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3C23720B-115F-40E8-9427-A01D4BBF8B87}"/>
              </a:ext>
            </a:extLst>
          </p:cNvPr>
          <p:cNvSpPr>
            <a:spLocks noGrp="1"/>
          </p:cNvSpPr>
          <p:nvPr>
            <p:ph type="body" idx="1"/>
          </p:nvPr>
        </p:nvSpPr>
        <p:spPr>
          <a:xfrm>
            <a:off x="438912" y="2660904"/>
            <a:ext cx="5657088" cy="768096"/>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27707" y="416404"/>
            <a:ext cx="3129934" cy="228479"/>
          </a:xfrm>
          <a:prstGeom prst="rect">
            <a:avLst/>
          </a:prstGeom>
        </p:spPr>
      </p:pic>
      <p:sp>
        <p:nvSpPr>
          <p:cNvPr id="10" name="Date Placeholder 2">
            <a:extLst>
              <a:ext uri="{FF2B5EF4-FFF2-40B4-BE49-F238E27FC236}">
                <a16:creationId xmlns:a16="http://schemas.microsoft.com/office/drawing/2014/main" id="{05AF1435-DAFD-43AB-98A5-C92AA7D5CB02}"/>
              </a:ext>
            </a:extLst>
          </p:cNvPr>
          <p:cNvSpPr txBox="1">
            <a:spLocks/>
          </p:cNvSpPr>
          <p:nvPr userDrawn="1"/>
        </p:nvSpPr>
        <p:spPr>
          <a:xfrm>
            <a:off x="7956275" y="6404293"/>
            <a:ext cx="2940325" cy="194578"/>
          </a:xfrm>
          <a:prstGeom prst="rect">
            <a:avLst/>
          </a:prstGeom>
        </p:spPr>
        <p:txBody>
          <a:bodyPr vert="horz" lIns="0" tIns="0" rIns="0" bIns="0" rtlCol="0" anchor="ctr"/>
          <a:lstStyle>
            <a:defPPr>
              <a:defRPr lang="en-CA"/>
            </a:defPPr>
            <a:lvl1pPr marL="0" algn="l" defTabSz="914400" rtl="0" eaLnBrk="1" latinLnBrk="0" hangingPunct="1">
              <a:defRPr sz="1000" kern="1200">
                <a:solidFill>
                  <a:schemeClr val="bg1"/>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CA" i="1" dirty="0">
                <a:solidFill>
                  <a:schemeClr val="tx1"/>
                </a:solidFill>
                <a:effectLst/>
              </a:rPr>
              <a:t>For investment professional use only</a:t>
            </a:r>
          </a:p>
        </p:txBody>
      </p:sp>
      <p:sp>
        <p:nvSpPr>
          <p:cNvPr id="12" name="Title 1">
            <a:extLst>
              <a:ext uri="{FF2B5EF4-FFF2-40B4-BE49-F238E27FC236}">
                <a16:creationId xmlns:a16="http://schemas.microsoft.com/office/drawing/2014/main" id="{C6B28C38-4C88-452B-B302-64A2AAF829DE}"/>
              </a:ext>
            </a:extLst>
          </p:cNvPr>
          <p:cNvSpPr>
            <a:spLocks noGrp="1"/>
          </p:cNvSpPr>
          <p:nvPr>
            <p:ph type="title" hasCustomPrompt="1"/>
          </p:nvPr>
        </p:nvSpPr>
        <p:spPr>
          <a:xfrm>
            <a:off x="438912" y="1222248"/>
            <a:ext cx="10457688" cy="1078992"/>
          </a:xfrm>
        </p:spPr>
        <p:txBody>
          <a:bodyPr anchor="b">
            <a:normAutofit/>
          </a:bodyPr>
          <a:lstStyle>
            <a:lvl1pPr>
              <a:defRPr sz="3800">
                <a:solidFill>
                  <a:schemeClr val="tx2"/>
                </a:solidFill>
              </a:defRPr>
            </a:lvl1pPr>
          </a:lstStyle>
          <a:p>
            <a:r>
              <a:rPr lang="en-CA" dirty="0"/>
              <a:t>Thank you</a:t>
            </a:r>
          </a:p>
        </p:txBody>
      </p:sp>
    </p:spTree>
    <p:extLst>
      <p:ext uri="{BB962C8B-B14F-4D97-AF65-F5344CB8AC3E}">
        <p14:creationId xmlns:p14="http://schemas.microsoft.com/office/powerpoint/2010/main" val="3922947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a:xfrm>
            <a:off x="5847988" y="6407602"/>
            <a:ext cx="492975" cy="182880"/>
          </a:xfrm>
        </p:spPr>
        <p:txBody>
          <a:bodyPr/>
          <a:lstStyle/>
          <a:p>
            <a:fld id="{00D53123-EF31-4C08-A865-932FC064F9C8}" type="slidenum">
              <a:rPr lang="en-CA" smtClean="0"/>
              <a:pPr/>
              <a:t>‹#›</a:t>
            </a:fld>
            <a:endParaRPr lang="en-CA" dirty="0"/>
          </a:p>
        </p:txBody>
      </p:sp>
      <p:sp>
        <p:nvSpPr>
          <p:cNvPr id="7" name="Title 1">
            <a:extLst>
              <a:ext uri="{FF2B5EF4-FFF2-40B4-BE49-F238E27FC236}">
                <a16:creationId xmlns:a16="http://schemas.microsoft.com/office/drawing/2014/main" id="{ED44F4B7-9B8C-4799-AEEA-05A3EE9EC5B6}"/>
              </a:ext>
            </a:extLst>
          </p:cNvPr>
          <p:cNvSpPr>
            <a:spLocks noGrp="1"/>
          </p:cNvSpPr>
          <p:nvPr>
            <p:ph type="title"/>
          </p:nvPr>
        </p:nvSpPr>
        <p:spPr>
          <a:xfrm>
            <a:off x="685800" y="365126"/>
            <a:ext cx="10210800" cy="798046"/>
          </a:xfrm>
        </p:spPr>
        <p:txBody>
          <a:bodyPr/>
          <a:lstStyle/>
          <a:p>
            <a:r>
              <a:rPr lang="en-US"/>
              <a:t>Click to edit Master title style</a:t>
            </a:r>
            <a:endParaRPr lang="en-CA"/>
          </a:p>
        </p:txBody>
      </p:sp>
      <p:sp>
        <p:nvSpPr>
          <p:cNvPr id="4"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692665-EEBA-45F4-8CCA-4E4B3AB9C6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Slide Number Placeholder 8">
            <a:extLst>
              <a:ext uri="{FF2B5EF4-FFF2-40B4-BE49-F238E27FC236}">
                <a16:creationId xmlns:a16="http://schemas.microsoft.com/office/drawing/2014/main" id="{CB4F0F05-0D1F-4203-8C15-D7FF14DF6848}"/>
              </a:ext>
            </a:extLst>
          </p:cNvPr>
          <p:cNvSpPr>
            <a:spLocks noGrp="1"/>
          </p:cNvSpPr>
          <p:nvPr>
            <p:ph type="sldNum" sz="quarter" idx="12"/>
          </p:nvPr>
        </p:nvSpPr>
        <p:spPr/>
        <p:txBody>
          <a:bodyPr/>
          <a:lstStyle/>
          <a:p>
            <a:fld id="{00D53123-EF31-4C08-A865-932FC064F9C8}" type="slidenum">
              <a:rPr lang="en-CA" smtClean="0"/>
              <a:pPr/>
              <a:t>‹#›</a:t>
            </a:fld>
            <a:endParaRPr lang="en-CA" dirty="0"/>
          </a:p>
        </p:txBody>
      </p:sp>
      <p:sp>
        <p:nvSpPr>
          <p:cNvPr id="10" name="Text Placeholder 8">
            <a:extLst>
              <a:ext uri="{FF2B5EF4-FFF2-40B4-BE49-F238E27FC236}">
                <a16:creationId xmlns:a16="http://schemas.microsoft.com/office/drawing/2014/main" id="{5E5BAACF-42E7-4313-8482-1BE8FBA28CCE}"/>
              </a:ext>
            </a:extLst>
          </p:cNvPr>
          <p:cNvSpPr>
            <a:spLocks noGrp="1"/>
          </p:cNvSpPr>
          <p:nvPr>
            <p:ph type="body" sz="quarter" idx="14"/>
          </p:nvPr>
        </p:nvSpPr>
        <p:spPr>
          <a:xfrm>
            <a:off x="685800" y="776606"/>
            <a:ext cx="10210800" cy="414019"/>
          </a:xfrm>
        </p:spPr>
        <p:txBody>
          <a:bodyPr anchor="ctr" anchorCtr="0"/>
          <a:lstStyle/>
          <a:p>
            <a:pPr lvl="0"/>
            <a:r>
              <a:rPr lang="en-US"/>
              <a:t>Click to edit Master text styles</a:t>
            </a:r>
          </a:p>
        </p:txBody>
      </p:sp>
      <p:sp>
        <p:nvSpPr>
          <p:cNvPr id="11" name="Title 1">
            <a:extLst>
              <a:ext uri="{FF2B5EF4-FFF2-40B4-BE49-F238E27FC236}">
                <a16:creationId xmlns:a16="http://schemas.microsoft.com/office/drawing/2014/main" id="{D089F7DF-4377-47A2-B733-FBEECC7CECFC}"/>
              </a:ext>
            </a:extLst>
          </p:cNvPr>
          <p:cNvSpPr>
            <a:spLocks noGrp="1"/>
          </p:cNvSpPr>
          <p:nvPr>
            <p:ph type="title"/>
          </p:nvPr>
        </p:nvSpPr>
        <p:spPr>
          <a:xfrm>
            <a:off x="685800" y="365126"/>
            <a:ext cx="10210800" cy="411480"/>
          </a:xfrm>
        </p:spPr>
        <p:txBody>
          <a:bodyPr/>
          <a:lstStyle/>
          <a:p>
            <a:r>
              <a:rPr lang="en-US"/>
              <a:t>Click to edit Master title style</a:t>
            </a:r>
            <a:endParaRPr lang="en-CA" dirty="0"/>
          </a:p>
        </p:txBody>
      </p:sp>
      <p:sp>
        <p:nvSpPr>
          <p:cNvPr id="7" name="Text Placeholder 3"/>
          <p:cNvSpPr>
            <a:spLocks noGrp="1"/>
          </p:cNvSpPr>
          <p:nvPr>
            <p:ph type="body" sz="quarter" idx="13" hasCustomPrompt="1"/>
          </p:nvPr>
        </p:nvSpPr>
        <p:spPr>
          <a:xfrm>
            <a:off x="685800" y="5943600"/>
            <a:ext cx="10210800" cy="381000"/>
          </a:xfrm>
        </p:spPr>
        <p:txBody>
          <a:bodyPr anchor="b">
            <a:normAutofit/>
          </a:bodyPr>
          <a:lstStyle>
            <a:lvl1pPr>
              <a:defRPr sz="1000">
                <a:solidFill>
                  <a:schemeClr val="tx1">
                    <a:lumMod val="50000"/>
                    <a:lumOff val="50000"/>
                  </a:schemeClr>
                </a:solidFill>
                <a:latin typeface="Arial Narrow" panose="020B0606020202030204" pitchFamily="34" charset="0"/>
              </a:defRPr>
            </a:lvl1pPr>
          </a:lstStyle>
          <a:p>
            <a:pPr lvl="0"/>
            <a:r>
              <a:rPr lang="en-US" dirty="0"/>
              <a:t>Click to add disclosur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7C4905B-8179-6402-DFD9-1B173B0DBF39}"/>
              </a:ext>
            </a:extLst>
          </p:cNvPr>
          <p:cNvGraphicFramePr>
            <a:graphicFrameLocks noChangeAspect="1"/>
          </p:cNvGraphicFramePr>
          <p:nvPr userDrawn="1">
            <p:custDataLst>
              <p:tags r:id="rId18"/>
            </p:custDataLst>
            <p:extLst>
              <p:ext uri="{D42A27DB-BD31-4B8C-83A1-F6EECF244321}">
                <p14:modId xmlns:p14="http://schemas.microsoft.com/office/powerpoint/2010/main" val="67531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86BD57E6-D642-4633-BE8D-24D8B16FFC8C}"/>
              </a:ext>
            </a:extLst>
          </p:cNvPr>
          <p:cNvSpPr/>
          <p:nvPr userDrawn="1"/>
        </p:nvSpPr>
        <p:spPr>
          <a:xfrm>
            <a:off x="-9144" y="-9144"/>
            <a:ext cx="12207240" cy="122529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noProof="0" dirty="0"/>
          </a:p>
        </p:txBody>
      </p:sp>
      <p:pic>
        <p:nvPicPr>
          <p:cNvPr id="10" name="Picture 9">
            <a:extLst>
              <a:ext uri="{FF2B5EF4-FFF2-40B4-BE49-F238E27FC236}">
                <a16:creationId xmlns:a16="http://schemas.microsoft.com/office/drawing/2014/main" id="{053C1ACB-A81A-4CEE-922C-A7F5AA1EBEDA}"/>
              </a:ext>
            </a:extLst>
          </p:cNvPr>
          <p:cNvPicPr>
            <a:picLocks noChangeAspect="1"/>
          </p:cNvPicPr>
          <p:nvPr userDrawn="1"/>
        </p:nvPicPr>
        <p:blipFill>
          <a:blip r:embed="rId21"/>
          <a:stretch>
            <a:fillRect/>
          </a:stretch>
        </p:blipFill>
        <p:spPr>
          <a:xfrm>
            <a:off x="11283696" y="5795010"/>
            <a:ext cx="728379" cy="789839"/>
          </a:xfrm>
          <a:prstGeom prst="rect">
            <a:avLst/>
          </a:prstGeom>
        </p:spPr>
      </p:pic>
      <p:sp>
        <p:nvSpPr>
          <p:cNvPr id="6" name="Slide Number Placeholder 5">
            <a:extLst>
              <a:ext uri="{FF2B5EF4-FFF2-40B4-BE49-F238E27FC236}">
                <a16:creationId xmlns:a16="http://schemas.microsoft.com/office/drawing/2014/main" id="{1565CCC4-AF7B-49EE-BDA4-ACAA8915851B}"/>
              </a:ext>
            </a:extLst>
          </p:cNvPr>
          <p:cNvSpPr>
            <a:spLocks noGrp="1"/>
          </p:cNvSpPr>
          <p:nvPr userDrawn="1">
            <p:ph type="sldNum" sz="quarter" idx="4"/>
          </p:nvPr>
        </p:nvSpPr>
        <p:spPr>
          <a:xfrm>
            <a:off x="5847988" y="6407602"/>
            <a:ext cx="492975" cy="182880"/>
          </a:xfrm>
          <a:prstGeom prst="rect">
            <a:avLst/>
          </a:prstGeom>
          <a:noFill/>
        </p:spPr>
        <p:txBody>
          <a:bodyPr vert="horz" lIns="0" tIns="0" rIns="0" bIns="0" rtlCol="0" anchor="ctr"/>
          <a:lstStyle>
            <a:lvl1pPr algn="ctr">
              <a:defRPr sz="1000">
                <a:solidFill>
                  <a:schemeClr val="accent1"/>
                </a:solidFill>
              </a:defRPr>
            </a:lvl1pPr>
          </a:lstStyle>
          <a:p>
            <a:fld id="{00D53123-EF31-4C08-A865-932FC064F9C8}" type="slidenum">
              <a:rPr lang="en-CA" smtClean="0"/>
              <a:pPr/>
              <a:t>‹#›</a:t>
            </a:fld>
            <a:endParaRPr lang="en-CA" dirty="0"/>
          </a:p>
        </p:txBody>
      </p:sp>
      <p:sp>
        <p:nvSpPr>
          <p:cNvPr id="3" name="Text Placeholder 2">
            <a:extLst>
              <a:ext uri="{FF2B5EF4-FFF2-40B4-BE49-F238E27FC236}">
                <a16:creationId xmlns:a16="http://schemas.microsoft.com/office/drawing/2014/main" id="{89A319DE-B60D-42AD-BAA6-1D3621150E68}"/>
              </a:ext>
            </a:extLst>
          </p:cNvPr>
          <p:cNvSpPr>
            <a:spLocks noGrp="1"/>
          </p:cNvSpPr>
          <p:nvPr userDrawn="1">
            <p:ph type="body" idx="1"/>
          </p:nvPr>
        </p:nvSpPr>
        <p:spPr>
          <a:xfrm>
            <a:off x="685800" y="1418665"/>
            <a:ext cx="10212323" cy="4524935"/>
          </a:xfrm>
          <a:prstGeom prst="rect">
            <a:avLst/>
          </a:prstGeom>
        </p:spPr>
        <p:txBody>
          <a:bodyPr vert="horz" lIns="0" tIns="0" rIns="0" bIns="0" rtlCol="0">
            <a:norm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 name="Title Placeholder 1">
            <a:extLst>
              <a:ext uri="{FF2B5EF4-FFF2-40B4-BE49-F238E27FC236}">
                <a16:creationId xmlns:a16="http://schemas.microsoft.com/office/drawing/2014/main" id="{57A4EE2F-F924-4236-8548-F7973D50D790}"/>
              </a:ext>
            </a:extLst>
          </p:cNvPr>
          <p:cNvSpPr>
            <a:spLocks noGrp="1"/>
          </p:cNvSpPr>
          <p:nvPr userDrawn="1">
            <p:ph type="title"/>
          </p:nvPr>
        </p:nvSpPr>
        <p:spPr>
          <a:xfrm>
            <a:off x="685800" y="365126"/>
            <a:ext cx="10210800" cy="798046"/>
          </a:xfrm>
          <a:prstGeom prst="rect">
            <a:avLst/>
          </a:prstGeom>
        </p:spPr>
        <p:txBody>
          <a:bodyPr vert="horz" lIns="0" tIns="0" rIns="0" bIns="0" rtlCol="0" anchor="ctr">
            <a:normAutofit/>
          </a:bodyPr>
          <a:lstStyle/>
          <a:p>
            <a:r>
              <a:rPr lang="en-US" noProof="0"/>
              <a:t>Click to edit Master title style</a:t>
            </a:r>
            <a:endParaRPr lang="en-CA" noProof="0" dirty="0"/>
          </a:p>
        </p:txBody>
      </p:sp>
      <p:pic>
        <p:nvPicPr>
          <p:cNvPr id="11" name="Picture 10"/>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674042" y="6448283"/>
            <a:ext cx="1870819" cy="136566"/>
          </a:xfrm>
          <a:prstGeom prst="rect">
            <a:avLst/>
          </a:prstGeom>
        </p:spPr>
      </p:pic>
    </p:spTree>
    <p:extLst>
      <p:ext uri="{BB962C8B-B14F-4D97-AF65-F5344CB8AC3E}">
        <p14:creationId xmlns:p14="http://schemas.microsoft.com/office/powerpoint/2010/main" val="1724841895"/>
      </p:ext>
    </p:extLst>
  </p:cSld>
  <p:clrMap bg1="lt1" tx1="dk1" bg2="lt2" tx2="dk2" accent1="accent1" accent2="accent2" accent3="accent3" accent4="accent4" accent5="accent5" accent6="accent6" hlink="hlink" folHlink="folHlink"/>
  <p:sldLayoutIdLst>
    <p:sldLayoutId id="2147483660" r:id="rId1"/>
    <p:sldLayoutId id="2147483691" r:id="rId2"/>
    <p:sldLayoutId id="2147483664" r:id="rId3"/>
    <p:sldLayoutId id="2147483692" r:id="rId4"/>
    <p:sldLayoutId id="2147483649" r:id="rId5"/>
    <p:sldLayoutId id="2147483651" r:id="rId6"/>
    <p:sldLayoutId id="2147483663" r:id="rId7"/>
    <p:sldLayoutId id="2147483698" r:id="rId8"/>
    <p:sldLayoutId id="2147483694" r:id="rId9"/>
    <p:sldLayoutId id="2147483652" r:id="rId10"/>
    <p:sldLayoutId id="2147483695" r:id="rId11"/>
    <p:sldLayoutId id="2147483653" r:id="rId12"/>
    <p:sldLayoutId id="2147483696" r:id="rId13"/>
    <p:sldLayoutId id="2147483654" r:id="rId14"/>
    <p:sldLayoutId id="2147483697" r:id="rId15"/>
    <p:sldLayoutId id="2147483699" r:id="rId16"/>
  </p:sldLayoutIdLst>
  <p:hf hdr="0" ftr="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2" userDrawn="1">
          <p15:clr>
            <a:srgbClr val="F26B43"/>
          </p15:clr>
        </p15:guide>
        <p15:guide id="4" pos="6864" userDrawn="1">
          <p15:clr>
            <a:srgbClr val="F26B43"/>
          </p15:clr>
        </p15:guide>
        <p15:guide id="5" orient="horz" pos="888" userDrawn="1">
          <p15:clr>
            <a:srgbClr val="F26B43"/>
          </p15:clr>
        </p15:guide>
        <p15:guide id="6" orient="horz" pos="41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chart" Target="../charts/chart4.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0D9BE53-0F3B-3EC4-58C8-18252DA2B731}"/>
              </a:ext>
            </a:extLst>
          </p:cNvPr>
          <p:cNvGraphicFramePr>
            <a:graphicFrameLocks noChangeAspect="1"/>
          </p:cNvGraphicFramePr>
          <p:nvPr>
            <p:custDataLst>
              <p:tags r:id="rId1"/>
            </p:custDataLst>
            <p:extLst>
              <p:ext uri="{D42A27DB-BD31-4B8C-83A1-F6EECF244321}">
                <p14:modId xmlns:p14="http://schemas.microsoft.com/office/powerpoint/2010/main" val="38514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p:txBody>
          <a:bodyPr vert="horz">
            <a:noAutofit/>
          </a:bodyPr>
          <a:lstStyle/>
          <a:p>
            <a:r>
              <a:rPr lang="en-US" sz="4000"/>
              <a:t>Charts of interest</a:t>
            </a:r>
            <a:endParaRPr lang="en-US" sz="4000" dirty="0"/>
          </a:p>
        </p:txBody>
      </p:sp>
      <p:sp>
        <p:nvSpPr>
          <p:cNvPr id="5" name="Date Placeholder 4"/>
          <p:cNvSpPr>
            <a:spLocks noGrp="1"/>
          </p:cNvSpPr>
          <p:nvPr>
            <p:ph type="dt" sz="half" idx="10"/>
          </p:nvPr>
        </p:nvSpPr>
        <p:spPr/>
        <p:txBody>
          <a:bodyPr/>
          <a:lstStyle/>
          <a:p>
            <a:r>
              <a:rPr lang="en-US" dirty="0"/>
              <a:t>April 2024</a:t>
            </a:r>
            <a:endParaRPr lang="en-CA" dirty="0"/>
          </a:p>
        </p:txBody>
      </p:sp>
    </p:spTree>
    <p:extLst>
      <p:ext uri="{BB962C8B-B14F-4D97-AF65-F5344CB8AC3E}">
        <p14:creationId xmlns:p14="http://schemas.microsoft.com/office/powerpoint/2010/main" val="1118114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ing the market can be costly</a:t>
            </a:r>
          </a:p>
        </p:txBody>
      </p:sp>
      <p:sp>
        <p:nvSpPr>
          <p:cNvPr id="7" name="TextBox 6"/>
          <p:cNvSpPr txBox="1"/>
          <p:nvPr/>
        </p:nvSpPr>
        <p:spPr>
          <a:xfrm>
            <a:off x="627177" y="5855660"/>
            <a:ext cx="1077559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lumMod val="50000"/>
                    <a:lumOff val="50000"/>
                  </a:schemeClr>
                </a:solidFill>
                <a:effectLst/>
                <a:latin typeface="+mj-lt"/>
              </a:rPr>
              <a:t>Source: Morningstar, RBC Global Asset Management. Based on the annualized returns in U.S. dollars of the S&amp;P 500 Total Return Index for 10 years, ending December 31, 2023. An investment cannot be made directly into an index. The above does not reflect transaction costs, investment management fees or taxes. If such costs and fees were reflected, returns would be lower. Past performance is not a guarantee of future results.</a:t>
            </a:r>
            <a:endParaRPr kumimoji="0" lang="en-US" sz="1000" b="0" i="0" u="none" strike="noStrike" kern="1200" cap="none" spc="0" normalizeH="0" baseline="0" noProof="0" dirty="0">
              <a:ln>
                <a:noFill/>
              </a:ln>
              <a:solidFill>
                <a:schemeClr val="tx1">
                  <a:lumMod val="50000"/>
                  <a:lumOff val="50000"/>
                </a:schemeClr>
              </a:solidFill>
              <a:effectLst/>
              <a:uLnTx/>
              <a:uFillTx/>
              <a:latin typeface="+mj-lt"/>
              <a:ea typeface="+mn-ea"/>
              <a:cs typeface="+mn-cs"/>
            </a:endParaRPr>
          </a:p>
        </p:txBody>
      </p:sp>
      <p:graphicFrame>
        <p:nvGraphicFramePr>
          <p:cNvPr id="4" name="Chart 3">
            <a:extLst>
              <a:ext uri="{FF2B5EF4-FFF2-40B4-BE49-F238E27FC236}">
                <a16:creationId xmlns:a16="http://schemas.microsoft.com/office/drawing/2014/main" id="{4EFBF7B9-5371-4288-93C2-3D845CAF7DAB}"/>
              </a:ext>
            </a:extLst>
          </p:cNvPr>
          <p:cNvGraphicFramePr/>
          <p:nvPr/>
        </p:nvGraphicFramePr>
        <p:xfrm>
          <a:off x="1874982" y="1579267"/>
          <a:ext cx="8442036" cy="411018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C128EBF-6695-F8D3-6BB8-41CE187B6527}"/>
              </a:ext>
            </a:extLst>
          </p:cNvPr>
          <p:cNvSpPr txBox="1"/>
          <p:nvPr/>
        </p:nvSpPr>
        <p:spPr>
          <a:xfrm>
            <a:off x="9099869" y="2568087"/>
            <a:ext cx="1701481" cy="276999"/>
          </a:xfrm>
          <a:prstGeom prst="rect">
            <a:avLst/>
          </a:prstGeom>
          <a:noFill/>
        </p:spPr>
        <p:txBody>
          <a:bodyPr wrap="square" rtlCol="0">
            <a:spAutoFit/>
          </a:bodyPr>
          <a:lstStyle/>
          <a:p>
            <a:r>
              <a:rPr lang="en-US" sz="1200" dirty="0"/>
              <a:t>Fully Invested</a:t>
            </a:r>
          </a:p>
        </p:txBody>
      </p:sp>
      <p:sp>
        <p:nvSpPr>
          <p:cNvPr id="9" name="TextBox 8">
            <a:extLst>
              <a:ext uri="{FF2B5EF4-FFF2-40B4-BE49-F238E27FC236}">
                <a16:creationId xmlns:a16="http://schemas.microsoft.com/office/drawing/2014/main" id="{5EBF6E27-4C2D-E8D7-A652-846DBB9BB0B6}"/>
              </a:ext>
            </a:extLst>
          </p:cNvPr>
          <p:cNvSpPr txBox="1"/>
          <p:nvPr/>
        </p:nvSpPr>
        <p:spPr>
          <a:xfrm>
            <a:off x="6690044" y="3301484"/>
            <a:ext cx="3816031" cy="276999"/>
          </a:xfrm>
          <a:prstGeom prst="rect">
            <a:avLst/>
          </a:prstGeom>
          <a:noFill/>
        </p:spPr>
        <p:txBody>
          <a:bodyPr wrap="square" rtlCol="0">
            <a:spAutoFit/>
          </a:bodyPr>
          <a:lstStyle/>
          <a:p>
            <a:r>
              <a:rPr lang="en-US" sz="1200" dirty="0"/>
              <a:t>Missing the 10 best trading days</a:t>
            </a:r>
          </a:p>
        </p:txBody>
      </p:sp>
      <p:sp>
        <p:nvSpPr>
          <p:cNvPr id="10" name="TextBox 9">
            <a:extLst>
              <a:ext uri="{FF2B5EF4-FFF2-40B4-BE49-F238E27FC236}">
                <a16:creationId xmlns:a16="http://schemas.microsoft.com/office/drawing/2014/main" id="{DCB99415-CE4D-CA63-CD83-631E36CA2980}"/>
              </a:ext>
            </a:extLst>
          </p:cNvPr>
          <p:cNvSpPr txBox="1"/>
          <p:nvPr/>
        </p:nvSpPr>
        <p:spPr>
          <a:xfrm>
            <a:off x="4613594" y="4021693"/>
            <a:ext cx="3816031" cy="276999"/>
          </a:xfrm>
          <a:prstGeom prst="rect">
            <a:avLst/>
          </a:prstGeom>
          <a:noFill/>
        </p:spPr>
        <p:txBody>
          <a:bodyPr wrap="square" rtlCol="0">
            <a:spAutoFit/>
          </a:bodyPr>
          <a:lstStyle/>
          <a:p>
            <a:r>
              <a:rPr lang="en-US" sz="1200" dirty="0"/>
              <a:t>Missing the 30 best trading days</a:t>
            </a:r>
          </a:p>
        </p:txBody>
      </p:sp>
      <p:sp>
        <p:nvSpPr>
          <p:cNvPr id="11" name="TextBox 10">
            <a:extLst>
              <a:ext uri="{FF2B5EF4-FFF2-40B4-BE49-F238E27FC236}">
                <a16:creationId xmlns:a16="http://schemas.microsoft.com/office/drawing/2014/main" id="{AB52BFC4-A9A8-EC5C-22BE-A86C34BBB9C9}"/>
              </a:ext>
            </a:extLst>
          </p:cNvPr>
          <p:cNvSpPr txBox="1"/>
          <p:nvPr/>
        </p:nvSpPr>
        <p:spPr>
          <a:xfrm>
            <a:off x="4613593" y="4768686"/>
            <a:ext cx="3816031" cy="276999"/>
          </a:xfrm>
          <a:prstGeom prst="rect">
            <a:avLst/>
          </a:prstGeom>
          <a:noFill/>
        </p:spPr>
        <p:txBody>
          <a:bodyPr wrap="square" rtlCol="0">
            <a:spAutoFit/>
          </a:bodyPr>
          <a:lstStyle/>
          <a:p>
            <a:r>
              <a:rPr lang="en-US" sz="1200" dirty="0"/>
              <a:t>Missing the 50 best trading days</a:t>
            </a:r>
          </a:p>
        </p:txBody>
      </p:sp>
    </p:spTree>
    <p:extLst>
      <p:ext uri="{BB962C8B-B14F-4D97-AF65-F5344CB8AC3E}">
        <p14:creationId xmlns:p14="http://schemas.microsoft.com/office/powerpoint/2010/main" val="25204027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9A7B773-2F54-9ED8-8457-5322106EDE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9" name="think-cell data - do not delete" hidden="1">
                        <a:extLst>
                          <a:ext uri="{FF2B5EF4-FFF2-40B4-BE49-F238E27FC236}">
                            <a16:creationId xmlns:a16="http://schemas.microsoft.com/office/drawing/2014/main" id="{19A7B773-2F54-9ED8-8457-5322106ED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9E1FB82-B237-A2C1-A3FF-C17B5922F0CA}"/>
              </a:ext>
            </a:extLst>
          </p:cNvPr>
          <p:cNvSpPr>
            <a:spLocks noGrp="1"/>
          </p:cNvSpPr>
          <p:nvPr>
            <p:ph type="sldNum" sz="quarter" idx="12"/>
          </p:nvPr>
        </p:nvSpPr>
        <p:spPr/>
        <p:txBody>
          <a:bodyPr/>
          <a:lstStyle/>
          <a:p>
            <a:fld id="{00D53123-EF31-4C08-A865-932FC064F9C8}" type="slidenum">
              <a:rPr lang="en-CA" smtClean="0"/>
              <a:t>3</a:t>
            </a:fld>
            <a:endParaRPr lang="en-CA"/>
          </a:p>
        </p:txBody>
      </p:sp>
      <p:sp>
        <p:nvSpPr>
          <p:cNvPr id="3" name="Text Placeholder 2">
            <a:extLst>
              <a:ext uri="{FF2B5EF4-FFF2-40B4-BE49-F238E27FC236}">
                <a16:creationId xmlns:a16="http://schemas.microsoft.com/office/drawing/2014/main" id="{A7AF61C2-6898-CB98-18BF-6E26206EFD91}"/>
              </a:ext>
            </a:extLst>
          </p:cNvPr>
          <p:cNvSpPr>
            <a:spLocks noGrp="1"/>
          </p:cNvSpPr>
          <p:nvPr>
            <p:ph type="body" sz="quarter" idx="14"/>
          </p:nvPr>
        </p:nvSpPr>
        <p:spPr/>
        <p:txBody>
          <a:bodyPr/>
          <a:lstStyle/>
          <a:p>
            <a:r>
              <a:rPr lang="en-US" dirty="0"/>
              <a:t>Portfolio volatility decreases and consistency increases over time</a:t>
            </a:r>
          </a:p>
        </p:txBody>
      </p:sp>
      <p:sp>
        <p:nvSpPr>
          <p:cNvPr id="4" name="Title 3">
            <a:extLst>
              <a:ext uri="{FF2B5EF4-FFF2-40B4-BE49-F238E27FC236}">
                <a16:creationId xmlns:a16="http://schemas.microsoft.com/office/drawing/2014/main" id="{03F38375-7333-1F42-8B48-C08CBACE6B7E}"/>
              </a:ext>
            </a:extLst>
          </p:cNvPr>
          <p:cNvSpPr>
            <a:spLocks noGrp="1"/>
          </p:cNvSpPr>
          <p:nvPr>
            <p:ph type="title"/>
          </p:nvPr>
        </p:nvSpPr>
        <p:spPr/>
        <p:txBody>
          <a:bodyPr vert="horz"/>
          <a:lstStyle/>
          <a:p>
            <a:r>
              <a:rPr lang="en-US" dirty="0"/>
              <a:t>Time narrows your range of returns</a:t>
            </a:r>
          </a:p>
        </p:txBody>
      </p:sp>
      <p:sp>
        <p:nvSpPr>
          <p:cNvPr id="7" name="Rectangle 6">
            <a:extLst>
              <a:ext uri="{FF2B5EF4-FFF2-40B4-BE49-F238E27FC236}">
                <a16:creationId xmlns:a16="http://schemas.microsoft.com/office/drawing/2014/main" id="{01384C79-48D0-6DBA-2708-9F28ED8494D1}"/>
              </a:ext>
            </a:extLst>
          </p:cNvPr>
          <p:cNvSpPr/>
          <p:nvPr/>
        </p:nvSpPr>
        <p:spPr>
          <a:xfrm>
            <a:off x="598225" y="5471936"/>
            <a:ext cx="10659801" cy="923330"/>
          </a:xfrm>
          <a:prstGeom prst="rect">
            <a:avLst/>
          </a:prstGeom>
        </p:spPr>
        <p:txBody>
          <a:bodyPr wrap="square">
            <a:spAutoFit/>
          </a:bodyPr>
          <a:lstStyle/>
          <a:p>
            <a:pPr marL="0" marR="0" lvl="0" indent="0" algn="l" defTabSz="914400" rtl="0" eaLnBrk="1" fontAlgn="auto" latinLnBrk="0" hangingPunct="1">
              <a:lnSpc>
                <a:spcPct val="90000"/>
              </a:lnSpc>
              <a:spcBef>
                <a:spcPct val="50000"/>
              </a:spcBef>
              <a:spcAft>
                <a:spcPts val="0"/>
              </a:spcAft>
              <a:buClrTx/>
              <a:buSzTx/>
              <a:buFontTx/>
              <a:buNone/>
              <a:tabLst/>
              <a:defRPr/>
            </a:pPr>
            <a:r>
              <a:rPr kumimoji="0" lang="en-US" sz="1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Source: Morningstar. Rolling 1-, 3-, 5-, 10-,20- and 30-year average annual returns from January 1988 to December 2023. All returns are total returns in US dollars. Diversified Portfolio represented by 2% Cash, 38% Canadian Fixed Income, 25% US Equities, 15% Canadian Equities, 15% International Equities and 5% Emerging Markets Equities. Cash represented by FTSE Canada Treasury Bill 30 Day; Fixed Income represented by FTSE Canada Universe Bond; US Equities represented by S&amp;P 500 TR USD, Canadian Equities represented by S&amp;P/TSX Composite TR, International Equities Represented by MSCI EAFE GR USD, Emerging Markets Equities represented by MSCI EM GR USD.</a:t>
            </a:r>
            <a:br>
              <a:rPr kumimoji="0" lang="en-US" sz="1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br>
            <a:r>
              <a:rPr kumimoji="0" lang="en-US" sz="1000" b="0" i="0" u="none" strike="noStrike" kern="1200" cap="none" spc="0" normalizeH="0" baseline="0" noProof="0" dirty="0">
                <a:ln>
                  <a:noFill/>
                </a:ln>
                <a:solidFill>
                  <a:schemeClr val="tx1">
                    <a:lumMod val="50000"/>
                    <a:lumOff val="50000"/>
                  </a:schemeClr>
                </a:solidFill>
                <a:effectLst/>
                <a:uLnTx/>
                <a:uFillTx/>
                <a:latin typeface="Arial"/>
                <a:ea typeface="+mn-ea"/>
                <a:cs typeface="+mn-cs"/>
              </a:rPr>
              <a:t>Source: Morningstar, RBC Global Asset Management. An investment cannot be made directly into an index. The above does not reflect transaction costs, investment management fees or taxes. If such costs and fees were reflected, returns would be lower. Past performance is not a guarantee of future results.</a:t>
            </a:r>
          </a:p>
        </p:txBody>
      </p:sp>
      <p:graphicFrame>
        <p:nvGraphicFramePr>
          <p:cNvPr id="8" name="Chart 7">
            <a:extLst>
              <a:ext uri="{FF2B5EF4-FFF2-40B4-BE49-F238E27FC236}">
                <a16:creationId xmlns:a16="http://schemas.microsoft.com/office/drawing/2014/main" id="{F0076073-EFBA-EA63-0C07-E1C3845450D8}"/>
              </a:ext>
            </a:extLst>
          </p:cNvPr>
          <p:cNvGraphicFramePr>
            <a:graphicFrameLocks/>
          </p:cNvGraphicFramePr>
          <p:nvPr/>
        </p:nvGraphicFramePr>
        <p:xfrm>
          <a:off x="598225" y="1291905"/>
          <a:ext cx="11062471" cy="418003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8520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0D53123-EF31-4C08-A865-932FC064F9C8}" type="slidenum">
              <a:rPr lang="en-CA" smtClean="0"/>
              <a:t>4</a:t>
            </a:fld>
            <a:endParaRPr lang="en-CA"/>
          </a:p>
        </p:txBody>
      </p:sp>
      <p:sp>
        <p:nvSpPr>
          <p:cNvPr id="3" name="Text Placeholder 2"/>
          <p:cNvSpPr>
            <a:spLocks noGrp="1"/>
          </p:cNvSpPr>
          <p:nvPr>
            <p:ph type="body" sz="quarter" idx="14"/>
          </p:nvPr>
        </p:nvSpPr>
        <p:spPr/>
        <p:txBody>
          <a:bodyPr/>
          <a:lstStyle/>
          <a:p>
            <a:r>
              <a:rPr lang="en-US" dirty="0"/>
              <a:t>Chasing returns can be a losing game</a:t>
            </a:r>
          </a:p>
        </p:txBody>
      </p:sp>
      <p:sp>
        <p:nvSpPr>
          <p:cNvPr id="4" name="Title 3"/>
          <p:cNvSpPr>
            <a:spLocks noGrp="1"/>
          </p:cNvSpPr>
          <p:nvPr>
            <p:ph type="title"/>
          </p:nvPr>
        </p:nvSpPr>
        <p:spPr/>
        <p:txBody>
          <a:bodyPr>
            <a:normAutofit/>
          </a:bodyPr>
          <a:lstStyle/>
          <a:p>
            <a:r>
              <a:rPr lang="en-US" dirty="0"/>
              <a:t>Fixed income diversification benefits</a:t>
            </a:r>
          </a:p>
        </p:txBody>
      </p:sp>
      <p:sp>
        <p:nvSpPr>
          <p:cNvPr id="8" name="TextBox 7"/>
          <p:cNvSpPr txBox="1"/>
          <p:nvPr/>
        </p:nvSpPr>
        <p:spPr>
          <a:xfrm>
            <a:off x="1161378" y="3132691"/>
            <a:ext cx="1210733" cy="261610"/>
          </a:xfrm>
          <a:prstGeom prst="rect">
            <a:avLst/>
          </a:prstGeom>
          <a:noFill/>
        </p:spPr>
        <p:txBody>
          <a:bodyPr wrap="square" rtlCol="0">
            <a:spAutoFit/>
          </a:bodyPr>
          <a:lstStyle/>
          <a:p>
            <a:pPr algn="ctr"/>
            <a:r>
              <a:rPr lang="en-US" sz="1100" b="1" dirty="0"/>
              <a:t>$100,000</a:t>
            </a:r>
          </a:p>
        </p:txBody>
      </p:sp>
      <p:sp>
        <p:nvSpPr>
          <p:cNvPr id="9" name="TextBox 8"/>
          <p:cNvSpPr txBox="1"/>
          <p:nvPr/>
        </p:nvSpPr>
        <p:spPr>
          <a:xfrm>
            <a:off x="8504997" y="2480402"/>
            <a:ext cx="3746806" cy="430887"/>
          </a:xfrm>
          <a:prstGeom prst="rect">
            <a:avLst/>
          </a:prstGeom>
          <a:noFill/>
        </p:spPr>
        <p:txBody>
          <a:bodyPr wrap="square" rtlCol="0">
            <a:spAutoFit/>
          </a:bodyPr>
          <a:lstStyle/>
          <a:p>
            <a:r>
              <a:rPr lang="en-US" sz="1100" b="1" dirty="0"/>
              <a:t>Investing in the previous year best performing</a:t>
            </a:r>
          </a:p>
          <a:p>
            <a:r>
              <a:rPr lang="en-US" sz="1100" b="1" dirty="0"/>
              <a:t>$131,085</a:t>
            </a:r>
          </a:p>
        </p:txBody>
      </p:sp>
      <p:sp>
        <p:nvSpPr>
          <p:cNvPr id="10" name="TextBox 9"/>
          <p:cNvSpPr txBox="1"/>
          <p:nvPr/>
        </p:nvSpPr>
        <p:spPr>
          <a:xfrm>
            <a:off x="8484270" y="1609865"/>
            <a:ext cx="3985649" cy="430887"/>
          </a:xfrm>
          <a:prstGeom prst="rect">
            <a:avLst/>
          </a:prstGeom>
          <a:noFill/>
        </p:spPr>
        <p:txBody>
          <a:bodyPr wrap="square" rtlCol="0">
            <a:spAutoFit/>
          </a:bodyPr>
          <a:lstStyle/>
          <a:p>
            <a:r>
              <a:rPr lang="en-US" sz="1100" b="1" dirty="0"/>
              <a:t>Investing in the previous year worst performing</a:t>
            </a:r>
          </a:p>
          <a:p>
            <a:r>
              <a:rPr lang="en-US" sz="1100" b="1" dirty="0"/>
              <a:t> $168,745</a:t>
            </a:r>
          </a:p>
        </p:txBody>
      </p:sp>
      <p:sp>
        <p:nvSpPr>
          <p:cNvPr id="11" name="TextBox 10"/>
          <p:cNvSpPr txBox="1"/>
          <p:nvPr/>
        </p:nvSpPr>
        <p:spPr>
          <a:xfrm>
            <a:off x="8504997" y="2080331"/>
            <a:ext cx="4183600" cy="430887"/>
          </a:xfrm>
          <a:prstGeom prst="rect">
            <a:avLst/>
          </a:prstGeom>
          <a:noFill/>
        </p:spPr>
        <p:txBody>
          <a:bodyPr wrap="square" rtlCol="0">
            <a:spAutoFit/>
          </a:bodyPr>
          <a:lstStyle/>
          <a:p>
            <a:r>
              <a:rPr lang="en-US" sz="1100" b="1" dirty="0"/>
              <a:t>Investing equally weighted </a:t>
            </a:r>
          </a:p>
          <a:p>
            <a:r>
              <a:rPr lang="en-US" sz="1100" b="1" dirty="0"/>
              <a:t>$154,211</a:t>
            </a:r>
          </a:p>
        </p:txBody>
      </p:sp>
      <p:sp>
        <p:nvSpPr>
          <p:cNvPr id="13" name="Rectangle 12"/>
          <p:cNvSpPr/>
          <p:nvPr/>
        </p:nvSpPr>
        <p:spPr>
          <a:xfrm>
            <a:off x="353572" y="5596057"/>
            <a:ext cx="10875256" cy="861774"/>
          </a:xfrm>
          <a:prstGeom prst="rect">
            <a:avLst/>
          </a:prstGeom>
        </p:spPr>
        <p:txBody>
          <a:bodyPr wrap="square">
            <a:spAutoFit/>
          </a:bodyPr>
          <a:lstStyle/>
          <a:p>
            <a:pPr algn="just"/>
            <a:r>
              <a:rPr kumimoji="1" lang="en-US" sz="1000" dirty="0">
                <a:solidFill>
                  <a:schemeClr val="tx1">
                    <a:lumMod val="65000"/>
                    <a:lumOff val="35000"/>
                  </a:schemeClr>
                </a:solidFill>
                <a:latin typeface="Arial" charset="0"/>
                <a:ea typeface="MS PGothic" pitchFamily="34" charset="-128"/>
              </a:rPr>
              <a:t>Source: Morningstar Direct, as of December 31, 2023. “Best performing asset class” represents a portfolio where at the beginning of each year the portfolio is invested in the asset class that had the strongest annual return the year before. “Worst performing asset class” represents a portfolio where at the beginning of each year the portfolio is invested in the asset class that had the weakest annual return the year before. “Equally weighted portfolio” represents an equally weighted portfolio of the three asset classes. CDN Bonds = FTSE Canada Universe Bond, CDN ST Bonds = FTSE Canada ST Bond, US HY Bonds = ICE </a:t>
            </a:r>
            <a:r>
              <a:rPr kumimoji="1" lang="en-US" sz="1000" dirty="0" err="1">
                <a:solidFill>
                  <a:schemeClr val="tx1">
                    <a:lumMod val="65000"/>
                    <a:lumOff val="35000"/>
                  </a:schemeClr>
                </a:solidFill>
                <a:latin typeface="Arial" charset="0"/>
                <a:ea typeface="MS PGothic" pitchFamily="34" charset="-128"/>
              </a:rPr>
              <a:t>BofA</a:t>
            </a:r>
            <a:r>
              <a:rPr kumimoji="1" lang="en-US" sz="1000" dirty="0">
                <a:solidFill>
                  <a:schemeClr val="tx1">
                    <a:lumMod val="65000"/>
                    <a:lumOff val="35000"/>
                  </a:schemeClr>
                </a:solidFill>
                <a:latin typeface="Arial" charset="0"/>
                <a:ea typeface="MS PGothic" pitchFamily="34" charset="-128"/>
              </a:rPr>
              <a:t> U.S. High Yield BB-B (CAD Hedged). An investment cannot be made directly into an index. The above does not reflect transaction costs, investment management fees or taxes. If such costs and fees were reflected, returns would be lower. Past performance is not a guarantee of future results. </a:t>
            </a:r>
          </a:p>
        </p:txBody>
      </p:sp>
      <p:graphicFrame>
        <p:nvGraphicFramePr>
          <p:cNvPr id="16" name="Table 15">
            <a:extLst>
              <a:ext uri="{FF2B5EF4-FFF2-40B4-BE49-F238E27FC236}">
                <a16:creationId xmlns:a16="http://schemas.microsoft.com/office/drawing/2014/main" id="{0CAF4F42-F830-B836-6487-D65BB484EBE8}"/>
              </a:ext>
            </a:extLst>
          </p:cNvPr>
          <p:cNvGraphicFramePr>
            <a:graphicFrameLocks noGrp="1"/>
          </p:cNvGraphicFramePr>
          <p:nvPr/>
        </p:nvGraphicFramePr>
        <p:xfrm>
          <a:off x="1642289" y="3987077"/>
          <a:ext cx="7451374" cy="1562100"/>
        </p:xfrm>
        <a:graphic>
          <a:graphicData uri="http://schemas.openxmlformats.org/drawingml/2006/table">
            <a:tbl>
              <a:tblPr/>
              <a:tblGrid>
                <a:gridCol w="532241">
                  <a:extLst>
                    <a:ext uri="{9D8B030D-6E8A-4147-A177-3AD203B41FA5}">
                      <a16:colId xmlns:a16="http://schemas.microsoft.com/office/drawing/2014/main" val="128296888"/>
                    </a:ext>
                  </a:extLst>
                </a:gridCol>
                <a:gridCol w="532241">
                  <a:extLst>
                    <a:ext uri="{9D8B030D-6E8A-4147-A177-3AD203B41FA5}">
                      <a16:colId xmlns:a16="http://schemas.microsoft.com/office/drawing/2014/main" val="680230412"/>
                    </a:ext>
                  </a:extLst>
                </a:gridCol>
                <a:gridCol w="532241">
                  <a:extLst>
                    <a:ext uri="{9D8B030D-6E8A-4147-A177-3AD203B41FA5}">
                      <a16:colId xmlns:a16="http://schemas.microsoft.com/office/drawing/2014/main" val="73950600"/>
                    </a:ext>
                  </a:extLst>
                </a:gridCol>
                <a:gridCol w="532241">
                  <a:extLst>
                    <a:ext uri="{9D8B030D-6E8A-4147-A177-3AD203B41FA5}">
                      <a16:colId xmlns:a16="http://schemas.microsoft.com/office/drawing/2014/main" val="2315188722"/>
                    </a:ext>
                  </a:extLst>
                </a:gridCol>
                <a:gridCol w="532241">
                  <a:extLst>
                    <a:ext uri="{9D8B030D-6E8A-4147-A177-3AD203B41FA5}">
                      <a16:colId xmlns:a16="http://schemas.microsoft.com/office/drawing/2014/main" val="1755054820"/>
                    </a:ext>
                  </a:extLst>
                </a:gridCol>
                <a:gridCol w="532241">
                  <a:extLst>
                    <a:ext uri="{9D8B030D-6E8A-4147-A177-3AD203B41FA5}">
                      <a16:colId xmlns:a16="http://schemas.microsoft.com/office/drawing/2014/main" val="109022076"/>
                    </a:ext>
                  </a:extLst>
                </a:gridCol>
                <a:gridCol w="532241">
                  <a:extLst>
                    <a:ext uri="{9D8B030D-6E8A-4147-A177-3AD203B41FA5}">
                      <a16:colId xmlns:a16="http://schemas.microsoft.com/office/drawing/2014/main" val="1421371982"/>
                    </a:ext>
                  </a:extLst>
                </a:gridCol>
                <a:gridCol w="532241">
                  <a:extLst>
                    <a:ext uri="{9D8B030D-6E8A-4147-A177-3AD203B41FA5}">
                      <a16:colId xmlns:a16="http://schemas.microsoft.com/office/drawing/2014/main" val="2382915277"/>
                    </a:ext>
                  </a:extLst>
                </a:gridCol>
                <a:gridCol w="532241">
                  <a:extLst>
                    <a:ext uri="{9D8B030D-6E8A-4147-A177-3AD203B41FA5}">
                      <a16:colId xmlns:a16="http://schemas.microsoft.com/office/drawing/2014/main" val="349437053"/>
                    </a:ext>
                  </a:extLst>
                </a:gridCol>
                <a:gridCol w="532241">
                  <a:extLst>
                    <a:ext uri="{9D8B030D-6E8A-4147-A177-3AD203B41FA5}">
                      <a16:colId xmlns:a16="http://schemas.microsoft.com/office/drawing/2014/main" val="2051248970"/>
                    </a:ext>
                  </a:extLst>
                </a:gridCol>
                <a:gridCol w="532241">
                  <a:extLst>
                    <a:ext uri="{9D8B030D-6E8A-4147-A177-3AD203B41FA5}">
                      <a16:colId xmlns:a16="http://schemas.microsoft.com/office/drawing/2014/main" val="1525634961"/>
                    </a:ext>
                  </a:extLst>
                </a:gridCol>
                <a:gridCol w="532241">
                  <a:extLst>
                    <a:ext uri="{9D8B030D-6E8A-4147-A177-3AD203B41FA5}">
                      <a16:colId xmlns:a16="http://schemas.microsoft.com/office/drawing/2014/main" val="2320480890"/>
                    </a:ext>
                  </a:extLst>
                </a:gridCol>
                <a:gridCol w="532241">
                  <a:extLst>
                    <a:ext uri="{9D8B030D-6E8A-4147-A177-3AD203B41FA5}">
                      <a16:colId xmlns:a16="http://schemas.microsoft.com/office/drawing/2014/main" val="439024640"/>
                    </a:ext>
                  </a:extLst>
                </a:gridCol>
                <a:gridCol w="532241">
                  <a:extLst>
                    <a:ext uri="{9D8B030D-6E8A-4147-A177-3AD203B41FA5}">
                      <a16:colId xmlns:a16="http://schemas.microsoft.com/office/drawing/2014/main" val="1005087264"/>
                    </a:ext>
                  </a:extLst>
                </a:gridCol>
              </a:tblGrid>
              <a:tr h="128927">
                <a:tc>
                  <a:txBody>
                    <a:bodyPr/>
                    <a:lstStyle/>
                    <a:p>
                      <a:pPr algn="ctr" fontAlgn="ctr"/>
                      <a:r>
                        <a:rPr lang="en-US" sz="1000" b="1" i="0" u="none" strike="noStrike">
                          <a:solidFill>
                            <a:srgbClr val="000000"/>
                          </a:solidFill>
                          <a:effectLst/>
                          <a:latin typeface="Arial" panose="020B0604020202020204" pitchFamily="34" charset="0"/>
                        </a:rPr>
                        <a:t>20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2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Arial" panose="020B0604020202020204" pitchFamily="34" charset="0"/>
                        </a:rPr>
                        <a:t>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7441085"/>
                  </a:ext>
                </a:extLst>
              </a:tr>
              <a:tr h="371612">
                <a:tc>
                  <a:txBody>
                    <a:bodyPr/>
                    <a:lstStyle/>
                    <a:p>
                      <a:pPr algn="ctr" fontAlgn="ctr"/>
                      <a:r>
                        <a:rPr lang="en-US" sz="1000" b="0" i="0" u="none" strike="noStrike">
                          <a:solidFill>
                            <a:srgbClr val="000000"/>
                          </a:solidFill>
                          <a:effectLst/>
                          <a:latin typeface="Arial" panose="020B0604020202020204" pitchFamily="34" charset="0"/>
                        </a:rPr>
                        <a:t>US HY Bonds 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CDN Bonds 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US HY Bonds 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US HY Bonds 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CDN Bonds 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CDN Bonds 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US HY Bonds 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US HY Bonds 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000000"/>
                          </a:solidFill>
                          <a:effectLst/>
                          <a:latin typeface="Arial" panose="020B0604020202020204" pitchFamily="34" charset="0"/>
                        </a:rPr>
                        <a:t>US HY Bonds 1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CDN Bonds 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US HY Bonds 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a:t>
                      </a:r>
                    </a:p>
                    <a:p>
                      <a:pPr algn="ctr" fontAlgn="ctr"/>
                      <a:r>
                        <a:rPr lang="en-US" sz="1000" b="0" i="0" u="none" strike="noStrike" dirty="0">
                          <a:solidFill>
                            <a:srgbClr val="FFFFFF"/>
                          </a:solidFill>
                          <a:effectLst/>
                          <a:latin typeface="Arial" panose="020B0604020202020204" pitchFamily="34" charset="0"/>
                        </a:rPr>
                        <a:t>-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US HY Bonds 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extLst>
                  <a:ext uri="{0D108BD9-81ED-4DB2-BD59-A6C34878D82A}">
                    <a16:rowId xmlns:a16="http://schemas.microsoft.com/office/drawing/2014/main" val="3760129728"/>
                  </a:ext>
                </a:extLst>
              </a:tr>
              <a:tr h="371612">
                <a:tc>
                  <a:txBody>
                    <a:bodyPr/>
                    <a:lstStyle/>
                    <a:p>
                      <a:pPr algn="ctr" fontAlgn="ctr"/>
                      <a:r>
                        <a:rPr lang="en-US" sz="1000" b="0" i="0" u="none" strike="noStrike">
                          <a:solidFill>
                            <a:srgbClr val="000000"/>
                          </a:solidFill>
                          <a:effectLst/>
                          <a:latin typeface="Arial" panose="020B0604020202020204" pitchFamily="34" charset="0"/>
                        </a:rPr>
                        <a:t>CDN Bonds 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US HY Bonds 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000000"/>
                          </a:solidFill>
                          <a:effectLst/>
                          <a:latin typeface="Arial" panose="020B0604020202020204" pitchFamily="34" charset="0"/>
                        </a:rPr>
                        <a:t>CDN Bonds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US HY Bonds 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000000"/>
                          </a:solidFill>
                          <a:effectLst/>
                          <a:latin typeface="Arial" panose="020B0604020202020204" pitchFamily="34" charset="0"/>
                        </a:rPr>
                        <a:t>CDN Bonds 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000000"/>
                          </a:solidFill>
                          <a:effectLst/>
                          <a:latin typeface="Arial" panose="020B0604020202020204" pitchFamily="34" charset="0"/>
                        </a:rPr>
                        <a:t>CDN Bonds 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000000"/>
                          </a:solidFill>
                          <a:effectLst/>
                          <a:latin typeface="Arial" panose="020B0604020202020204" pitchFamily="34" charset="0"/>
                        </a:rPr>
                        <a:t>CDN Bonds 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000000"/>
                          </a:solidFill>
                          <a:effectLst/>
                          <a:latin typeface="Arial" panose="020B0604020202020204" pitchFamily="34" charset="0"/>
                        </a:rPr>
                        <a:t>CDN Bonds 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a:solidFill>
                            <a:srgbClr val="FFFFFF"/>
                          </a:solidFill>
                          <a:effectLst/>
                          <a:latin typeface="Arial" panose="020B0604020202020204" pitchFamily="34" charset="0"/>
                        </a:rPr>
                        <a:t>CDN ST Bonds 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a:t>
                      </a:r>
                    </a:p>
                    <a:p>
                      <a:pPr algn="ctr" fontAlgn="ctr"/>
                      <a:r>
                        <a:rPr lang="en-US" sz="1000" b="0" i="0" u="none" strike="noStrike" dirty="0">
                          <a:solidFill>
                            <a:srgbClr val="FFFFFF"/>
                          </a:solidFill>
                          <a:effectLst/>
                          <a:latin typeface="Arial" panose="020B0604020202020204" pitchFamily="34" charset="0"/>
                        </a:rPr>
                        <a:t>-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US HY Bonds</a:t>
                      </a:r>
                    </a:p>
                    <a:p>
                      <a:pPr algn="ctr" fontAlgn="ctr"/>
                      <a:r>
                        <a:rPr lang="en-US" sz="1000" b="0" i="0" u="none" strike="noStrike" dirty="0">
                          <a:solidFill>
                            <a:srgbClr val="000000"/>
                          </a:solidFill>
                          <a:effectLst/>
                          <a:latin typeface="Arial" panose="020B0604020202020204" pitchFamily="34" charset="0"/>
                        </a:rPr>
                        <a:t>-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000000"/>
                          </a:solidFill>
                          <a:effectLst/>
                          <a:latin typeface="Arial" panose="020B0604020202020204" pitchFamily="34" charset="0"/>
                        </a:rPr>
                        <a:t>CDN Bonds 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extLst>
                  <a:ext uri="{0D108BD9-81ED-4DB2-BD59-A6C34878D82A}">
                    <a16:rowId xmlns:a16="http://schemas.microsoft.com/office/drawing/2014/main" val="118374702"/>
                  </a:ext>
                </a:extLst>
              </a:tr>
              <a:tr h="371612">
                <a:tc>
                  <a:txBody>
                    <a:bodyPr/>
                    <a:lstStyle/>
                    <a:p>
                      <a:pPr algn="ctr" fontAlgn="ctr"/>
                      <a:r>
                        <a:rPr lang="en-US" sz="1000" b="0" i="0" u="none" strike="noStrike">
                          <a:solidFill>
                            <a:srgbClr val="FFFFFF"/>
                          </a:solidFill>
                          <a:effectLst/>
                          <a:latin typeface="Arial" panose="020B0604020202020204" pitchFamily="34" charset="0"/>
                        </a:rPr>
                        <a:t>CDN ST Bonds 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FFFFFF"/>
                          </a:solidFill>
                          <a:effectLst/>
                          <a:latin typeface="Arial" panose="020B0604020202020204" pitchFamily="34" charset="0"/>
                        </a:rPr>
                        <a:t>CDN ST Bonds 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FFFFFF"/>
                          </a:solidFill>
                          <a:effectLst/>
                          <a:latin typeface="Arial" panose="020B0604020202020204" pitchFamily="34" charset="0"/>
                        </a:rPr>
                        <a:t>CDN ST Bonds 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CDN Bonds </a:t>
                      </a:r>
                    </a:p>
                    <a:p>
                      <a:pPr algn="ctr" fontAlgn="ctr"/>
                      <a:r>
                        <a:rPr lang="en-US" sz="1000" b="0" i="0" u="none" strike="noStrike" dirty="0">
                          <a:solidFill>
                            <a:srgbClr val="000000"/>
                          </a:solidFill>
                          <a:effectLst/>
                          <a:latin typeface="Arial" panose="020B060402020202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US HY Bonds </a:t>
                      </a:r>
                    </a:p>
                    <a:p>
                      <a:pPr algn="ctr" fontAlgn="ctr"/>
                      <a:r>
                        <a:rPr lang="en-US" sz="1000" b="0" i="0" u="none" strike="noStrike" dirty="0">
                          <a:solidFill>
                            <a:srgbClr val="000000"/>
                          </a:solidFill>
                          <a:effectLst/>
                          <a:latin typeface="Arial" panose="020B0604020202020204" pitchFamily="34"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a:solidFill>
                            <a:srgbClr val="FFFFFF"/>
                          </a:solidFill>
                          <a:effectLst/>
                          <a:latin typeface="Arial" panose="020B0604020202020204" pitchFamily="34" charset="0"/>
                        </a:rPr>
                        <a:t>CDN ST Bonds 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FFFFFF"/>
                          </a:solidFill>
                          <a:effectLst/>
                          <a:latin typeface="Arial" panose="020B0604020202020204" pitchFamily="34" charset="0"/>
                        </a:rPr>
                        <a:t>CDN ST Bonds 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dirty="0">
                          <a:solidFill>
                            <a:srgbClr val="000000"/>
                          </a:solidFill>
                          <a:effectLst/>
                          <a:latin typeface="Arial" panose="020B0604020202020204" pitchFamily="34" charset="0"/>
                        </a:rPr>
                        <a:t>US HY Bonds</a:t>
                      </a:r>
                    </a:p>
                    <a:p>
                      <a:pPr algn="ctr" fontAlgn="ctr"/>
                      <a:r>
                        <a:rPr lang="en-US" sz="1000" b="0" i="0" u="none" strike="noStrike" dirty="0">
                          <a:solidFill>
                            <a:srgbClr val="000000"/>
                          </a:solidFill>
                          <a:effectLst/>
                          <a:latin typeface="Arial" panose="020B0604020202020204" pitchFamily="34" charset="0"/>
                        </a:rPr>
                        <a:t>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tc>
                  <a:txBody>
                    <a:bodyPr/>
                    <a:lstStyle/>
                    <a:p>
                      <a:pPr algn="ctr" fontAlgn="ctr"/>
                      <a:r>
                        <a:rPr lang="en-US" sz="1000" b="0" i="0" u="none" strike="noStrike">
                          <a:solidFill>
                            <a:srgbClr val="000000"/>
                          </a:solidFill>
                          <a:effectLst/>
                          <a:latin typeface="Arial" panose="020B0604020202020204" pitchFamily="34" charset="0"/>
                        </a:rPr>
                        <a:t>US HY Bonds 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72C"/>
                    </a:solidFill>
                  </a:tcPr>
                </a:tc>
                <a:tc>
                  <a:txBody>
                    <a:bodyPr/>
                    <a:lstStyle/>
                    <a:p>
                      <a:pPr algn="ctr" fontAlgn="ctr"/>
                      <a:r>
                        <a:rPr lang="en-US" sz="1000" b="0" i="0" u="none" strike="noStrike" dirty="0">
                          <a:solidFill>
                            <a:srgbClr val="000000"/>
                          </a:solidFill>
                          <a:effectLst/>
                          <a:latin typeface="Arial" panose="020B0604020202020204" pitchFamily="34" charset="0"/>
                        </a:rPr>
                        <a:t>CDN Bonds </a:t>
                      </a:r>
                    </a:p>
                    <a:p>
                      <a:pPr algn="ctr" fontAlgn="ctr"/>
                      <a:r>
                        <a:rPr lang="en-US" sz="1000" b="0" i="0" u="none" strike="noStrike" dirty="0">
                          <a:solidFill>
                            <a:srgbClr val="000000"/>
                          </a:solidFill>
                          <a:effectLst/>
                          <a:latin typeface="Arial" panose="020B060402020202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000000"/>
                          </a:solidFill>
                          <a:effectLst/>
                          <a:latin typeface="Arial" panose="020B0604020202020204" pitchFamily="34" charset="0"/>
                        </a:rPr>
                        <a:t>CDN Bonds </a:t>
                      </a:r>
                    </a:p>
                    <a:p>
                      <a:pPr algn="ctr" fontAlgn="ctr"/>
                      <a:r>
                        <a:rPr lang="en-US" sz="1000" b="0" i="0" u="none" strike="noStrike" dirty="0">
                          <a:solidFill>
                            <a:srgbClr val="000000"/>
                          </a:solidFill>
                          <a:effectLst/>
                          <a:latin typeface="Arial" panose="020B0604020202020204" pitchFamily="34" charset="0"/>
                        </a:rPr>
                        <a:t>-1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E1DB"/>
                    </a:solidFill>
                  </a:tcPr>
                </a:tc>
                <a:tc>
                  <a:txBody>
                    <a:bodyPr/>
                    <a:lstStyle/>
                    <a:p>
                      <a:pPr algn="ctr" fontAlgn="ctr"/>
                      <a:r>
                        <a:rPr lang="en-US" sz="1000" b="0" i="0" u="none" strike="noStrike" dirty="0">
                          <a:solidFill>
                            <a:srgbClr val="FFFFFF"/>
                          </a:solidFill>
                          <a:effectLst/>
                          <a:latin typeface="Arial" panose="020B0604020202020204" pitchFamily="34" charset="0"/>
                        </a:rPr>
                        <a:t>CDN ST Bonds 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3168"/>
                    </a:solidFill>
                  </a:tcPr>
                </a:tc>
                <a:extLst>
                  <a:ext uri="{0D108BD9-81ED-4DB2-BD59-A6C34878D82A}">
                    <a16:rowId xmlns:a16="http://schemas.microsoft.com/office/drawing/2014/main" val="1743717293"/>
                  </a:ext>
                </a:extLst>
              </a:tr>
            </a:tbl>
          </a:graphicData>
        </a:graphic>
      </p:graphicFrame>
      <p:graphicFrame>
        <p:nvGraphicFramePr>
          <p:cNvPr id="5" name="Chart 4">
            <a:extLst>
              <a:ext uri="{FF2B5EF4-FFF2-40B4-BE49-F238E27FC236}">
                <a16:creationId xmlns:a16="http://schemas.microsoft.com/office/drawing/2014/main" id="{00000000-0008-0000-0000-000002000000}"/>
              </a:ext>
            </a:extLst>
          </p:cNvPr>
          <p:cNvGraphicFramePr>
            <a:graphicFrameLocks/>
          </p:cNvGraphicFramePr>
          <p:nvPr/>
        </p:nvGraphicFramePr>
        <p:xfrm>
          <a:off x="1926681" y="1123845"/>
          <a:ext cx="6775704" cy="281635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35B5219-773D-194C-5E6A-1E75DEEB8A80}"/>
              </a:ext>
            </a:extLst>
          </p:cNvPr>
          <p:cNvSpPr txBox="1"/>
          <p:nvPr/>
        </p:nvSpPr>
        <p:spPr>
          <a:xfrm>
            <a:off x="4337163" y="1288555"/>
            <a:ext cx="2535168" cy="523220"/>
          </a:xfrm>
          <a:prstGeom prst="rect">
            <a:avLst/>
          </a:prstGeom>
          <a:noFill/>
        </p:spPr>
        <p:txBody>
          <a:bodyPr wrap="square" rtlCol="0">
            <a:spAutoFit/>
          </a:bodyPr>
          <a:lstStyle/>
          <a:p>
            <a:pPr algn="ctr"/>
            <a:r>
              <a:rPr lang="en-US" sz="1400" b="1" dirty="0"/>
              <a:t>Growth of different fixed income portfolios over time</a:t>
            </a:r>
          </a:p>
        </p:txBody>
      </p:sp>
    </p:spTree>
    <p:extLst>
      <p:ext uri="{BB962C8B-B14F-4D97-AF65-F5344CB8AC3E}">
        <p14:creationId xmlns:p14="http://schemas.microsoft.com/office/powerpoint/2010/main" val="590859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A9215D4-B240-EF0A-312E-0189549C7B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0" name="think-cell data - do not delete" hidden="1">
                        <a:extLst>
                          <a:ext uri="{FF2B5EF4-FFF2-40B4-BE49-F238E27FC236}">
                            <a16:creationId xmlns:a16="http://schemas.microsoft.com/office/drawing/2014/main" id="{1A9215D4-B240-EF0A-312E-0189549C7B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742588" y="220012"/>
            <a:ext cx="10210800" cy="798046"/>
          </a:xfrm>
        </p:spPr>
        <p:txBody>
          <a:bodyPr vert="horz">
            <a:normAutofit fontScale="90000"/>
          </a:bodyPr>
          <a:lstStyle/>
          <a:p>
            <a:r>
              <a:rPr lang="en-US" sz="3200" dirty="0"/>
              <a:t>Over time, equities can keep you above the inflation waterline</a:t>
            </a:r>
          </a:p>
        </p:txBody>
      </p:sp>
      <p:sp>
        <p:nvSpPr>
          <p:cNvPr id="4" name="Rectangle 3"/>
          <p:cNvSpPr/>
          <p:nvPr/>
        </p:nvSpPr>
        <p:spPr>
          <a:xfrm>
            <a:off x="400050" y="5703563"/>
            <a:ext cx="10437611" cy="784830"/>
          </a:xfrm>
          <a:prstGeom prst="rect">
            <a:avLst/>
          </a:prstGeom>
        </p:spPr>
        <p:txBody>
          <a:bodyPr wrap="square">
            <a:spAutoFit/>
          </a:bodyPr>
          <a:lstStyle/>
          <a:p>
            <a:pPr marL="0" marR="0" lvl="0" indent="0" algn="l" defTabSz="914400" rtl="0" eaLnBrk="1" fontAlgn="auto" latinLnBrk="0" hangingPunct="1">
              <a:lnSpc>
                <a:spcPct val="90000"/>
              </a:lnSpc>
              <a:spcBef>
                <a:spcPct val="5000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a:ea typeface="+mn-ea"/>
                <a:cs typeface="+mn-cs"/>
              </a:rPr>
              <a:t>Source: Morningstar, Stats Canada.  Asset </a:t>
            </a:r>
            <a:r>
              <a:rPr lang="en-US" sz="1000" dirty="0">
                <a:solidFill>
                  <a:srgbClr val="000000">
                    <a:lumMod val="50000"/>
                    <a:lumOff val="50000"/>
                  </a:srgbClr>
                </a:solidFill>
                <a:latin typeface="Arial"/>
              </a:rPr>
              <a:t>d</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ata</a:t>
            </a:r>
            <a:r>
              <a:rPr kumimoji="0" lang="en-US" sz="10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from January 1,1991 to February 29</a:t>
            </a:r>
            <a:r>
              <a:rPr lang="en-US" sz="1000" dirty="0">
                <a:solidFill>
                  <a:srgbClr val="000000">
                    <a:lumMod val="50000"/>
                    <a:lumOff val="50000"/>
                  </a:srgbClr>
                </a:solidFill>
                <a:latin typeface="Arial"/>
              </a:rPr>
              <a:t>, </a:t>
            </a:r>
            <a:r>
              <a:rPr kumimoji="0" lang="en-US" sz="1000" b="0" i="0" u="none" strike="noStrike" kern="1200" cap="none" spc="0" normalizeH="0" baseline="0" noProof="0" dirty="0">
                <a:ln>
                  <a:noFill/>
                </a:ln>
                <a:solidFill>
                  <a:srgbClr val="000000">
                    <a:lumMod val="50000"/>
                    <a:lumOff val="50000"/>
                  </a:srgbClr>
                </a:solidFill>
                <a:effectLst/>
                <a:uLnTx/>
                <a:uFillTx/>
                <a:latin typeface="Arial"/>
                <a:ea typeface="+mn-ea"/>
                <a:cs typeface="+mn-cs"/>
              </a:rPr>
              <a:t>2024.  Inflation data from January 1, 1991 to January 31, 2024. Cash, bonds, and stocks calculated as average annualized total return over period. </a:t>
            </a:r>
            <a:r>
              <a:rPr lang="en-US" sz="1000" dirty="0">
                <a:solidFill>
                  <a:srgbClr val="000000">
                    <a:lumMod val="50000"/>
                    <a:lumOff val="50000"/>
                  </a:srgbClr>
                </a:solidFill>
                <a:latin typeface="Arial"/>
              </a:rPr>
              <a:t>I</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nflation</a:t>
            </a:r>
            <a:r>
              <a:rPr kumimoji="0" lang="en-US" sz="10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calculated as monthly year-over-year </a:t>
            </a:r>
            <a:r>
              <a:rPr kumimoji="0" lang="en-US" sz="1000" b="0" i="0" u="none" strike="noStrike" kern="1200" cap="none" spc="0" normalizeH="0" baseline="0" noProof="0" dirty="0" err="1">
                <a:ln>
                  <a:noFill/>
                </a:ln>
                <a:solidFill>
                  <a:srgbClr val="000000">
                    <a:lumMod val="50000"/>
                    <a:lumOff val="50000"/>
                  </a:srgbClr>
                </a:solidFill>
                <a:effectLst/>
                <a:uLnTx/>
                <a:uFillTx/>
                <a:latin typeface="Arial"/>
                <a:ea typeface="+mn-ea"/>
                <a:cs typeface="+mn-cs"/>
              </a:rPr>
              <a:t>Candian</a:t>
            </a:r>
            <a:r>
              <a:rPr kumimoji="0" lang="en-US" sz="1000" b="0" i="0" u="none" strike="noStrike" kern="1200" cap="none" spc="0" normalizeH="0" baseline="0" noProof="0" dirty="0">
                <a:ln>
                  <a:noFill/>
                </a:ln>
                <a:solidFill>
                  <a:srgbClr val="000000">
                    <a:lumMod val="50000"/>
                    <a:lumOff val="50000"/>
                  </a:srgbClr>
                </a:solidFill>
                <a:effectLst/>
                <a:uLnTx/>
                <a:uFillTx/>
                <a:latin typeface="Arial"/>
                <a:ea typeface="+mn-ea"/>
                <a:cs typeface="+mn-cs"/>
              </a:rPr>
              <a:t> CPI, not seasonally adjusted. Cash represented by FTSE Canada 91-day T-bill. Bonds represented by FTSE Canada Universe Bonds. Stocks represented by S&amp;P/TSX composite index. Asset returns based on average total returns and rolling returns may vary during different time periods. An investment cannot be made directly into an index. The above does not reflect transaction costs, investment management fees or taxes. If such costs and fees were reflected, returns would be lower. Past performance is not a guarantee of future results.</a:t>
            </a:r>
          </a:p>
        </p:txBody>
      </p:sp>
      <p:sp>
        <p:nvSpPr>
          <p:cNvPr id="7" name="Slide Number Placeholder 6"/>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00D53123-EF31-4C08-A865-932FC064F9C8}" type="slidenum">
              <a:rPr kumimoji="0" lang="en-CA" sz="1000" b="0" i="0" u="none" strike="noStrike" kern="1200" cap="none" spc="0" normalizeH="0" baseline="0" noProof="0" smtClean="0">
                <a:ln>
                  <a:noFill/>
                </a:ln>
                <a:solidFill>
                  <a:srgbClr val="003168"/>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CA" sz="1000" b="0" i="0" u="none" strike="noStrike" kern="1200" cap="none" spc="0" normalizeH="0" baseline="0" noProof="0">
              <a:ln>
                <a:noFill/>
              </a:ln>
              <a:solidFill>
                <a:srgbClr val="003168"/>
              </a:solidFill>
              <a:effectLst/>
              <a:uLnTx/>
              <a:uFillTx/>
              <a:latin typeface="Arial"/>
              <a:ea typeface="+mn-ea"/>
              <a:cs typeface="+mn-cs"/>
            </a:endParaRPr>
          </a:p>
        </p:txBody>
      </p:sp>
      <p:graphicFrame>
        <p:nvGraphicFramePr>
          <p:cNvPr id="2" name="Chart 1">
            <a:extLst>
              <a:ext uri="{FF2B5EF4-FFF2-40B4-BE49-F238E27FC236}">
                <a16:creationId xmlns:a16="http://schemas.microsoft.com/office/drawing/2014/main" id="{2B3BFF44-1727-42C0-B822-1B0CAB88A84A}"/>
              </a:ext>
            </a:extLst>
          </p:cNvPr>
          <p:cNvGraphicFramePr>
            <a:graphicFrameLocks/>
          </p:cNvGraphicFramePr>
          <p:nvPr>
            <p:extLst>
              <p:ext uri="{D42A27DB-BD31-4B8C-83A1-F6EECF244321}">
                <p14:modId xmlns:p14="http://schemas.microsoft.com/office/powerpoint/2010/main" val="741361955"/>
              </p:ext>
            </p:extLst>
          </p:nvPr>
        </p:nvGraphicFramePr>
        <p:xfrm>
          <a:off x="400050" y="1250677"/>
          <a:ext cx="11627109" cy="4452886"/>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 Placeholder 3">
            <a:extLst>
              <a:ext uri="{FF2B5EF4-FFF2-40B4-BE49-F238E27FC236}">
                <a16:creationId xmlns:a16="http://schemas.microsoft.com/office/drawing/2014/main" id="{EDCC9F4E-DAD6-F68F-5AF8-08EC957E98C0}"/>
              </a:ext>
            </a:extLst>
          </p:cNvPr>
          <p:cNvSpPr txBox="1">
            <a:spLocks/>
          </p:cNvSpPr>
          <p:nvPr/>
        </p:nvSpPr>
        <p:spPr>
          <a:xfrm>
            <a:off x="742588" y="792350"/>
            <a:ext cx="11284571" cy="798046"/>
          </a:xfrm>
          <a:prstGeom prst="rect">
            <a:avLst/>
          </a:prstGeom>
        </p:spPr>
        <p:txBody>
          <a:bodyPr/>
          <a:lstStyle>
            <a:lvl1pPr marL="0" indent="0" algn="l" defTabSz="914400" rtl="0" eaLnBrk="1" latinLnBrk="0" hangingPunct="1">
              <a:lnSpc>
                <a:spcPct val="90000"/>
              </a:lnSpc>
              <a:spcBef>
                <a:spcPts val="1000"/>
              </a:spcBef>
              <a:buFontTx/>
              <a:buNone/>
              <a:defRPr sz="20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ince the Bank of Canada inflation mandate in 1991, annual inflation has not reached the 33-year equity average.</a:t>
            </a:r>
          </a:p>
        </p:txBody>
      </p:sp>
    </p:spTree>
    <p:extLst>
      <p:ext uri="{BB962C8B-B14F-4D97-AF65-F5344CB8AC3E}">
        <p14:creationId xmlns:p14="http://schemas.microsoft.com/office/powerpoint/2010/main" val="3119551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a:spLocks noGrp="1"/>
          </p:cNvSpPr>
          <p:nvPr>
            <p:ph type="title"/>
          </p:nvPr>
        </p:nvSpPr>
        <p:spPr>
          <a:xfrm>
            <a:off x="685800" y="365126"/>
            <a:ext cx="10210800" cy="798046"/>
          </a:xfrm>
        </p:spPr>
        <p:txBody>
          <a:bodyPr/>
          <a:lstStyle/>
          <a:p>
            <a:r>
              <a:rPr lang="en-US" dirty="0"/>
              <a:t>Disclosure</a:t>
            </a:r>
          </a:p>
        </p:txBody>
      </p:sp>
      <p:sp>
        <p:nvSpPr>
          <p:cNvPr id="5" name="TextBox 4"/>
          <p:cNvSpPr txBox="1"/>
          <p:nvPr/>
        </p:nvSpPr>
        <p:spPr>
          <a:xfrm>
            <a:off x="685800" y="1443997"/>
            <a:ext cx="11168323" cy="4349909"/>
          </a:xfrm>
          <a:prstGeom prst="rect">
            <a:avLst/>
          </a:prstGeom>
          <a:noFill/>
        </p:spPr>
        <p:txBody>
          <a:bodyPr wrap="square" rtlCol="0">
            <a:spAutoFit/>
          </a:bodyPr>
          <a:lstStyle/>
          <a:p>
            <a:pPr>
              <a:spcAft>
                <a:spcPts val="1600"/>
              </a:spcAft>
            </a:pPr>
            <a:r>
              <a:rPr lang="en-US" sz="1100" dirty="0">
                <a:solidFill>
                  <a:schemeClr val="tx1">
                    <a:lumMod val="50000"/>
                    <a:lumOff val="50000"/>
                  </a:schemeClr>
                </a:solidFill>
              </a:rPr>
              <a:t>This has been provided by RBC Global Asset Management Inc. (RBC GAM) and is for informational purposes, as of the date noted only. It is not intended to provide legal, accounting, tax, investment, financial or other advice and such information should not be relied upon for providing such advice. RBC GAM takes reasonable steps to provide up-to-date, accurate and reliable information, and believes the information to be so when provided. Past performance is no guarantee of future results. Interest rates, market conditions, tax rulings and other investment factors are subject to rapid change which may materially impact analysis that is included in this document. You should consult with your advisor before taking any action based upon the information contained in this document. Information obtained from third parties is believed to be reliable but RBC GAM and its affiliates assume no responsibility for any errors or omissions or for any loss or damage suffered. RBC GAM reserves the right at any time and without notice to change, amend or cease publication of the information.</a:t>
            </a:r>
          </a:p>
          <a:p>
            <a:pPr>
              <a:spcAft>
                <a:spcPts val="1600"/>
              </a:spcAft>
            </a:pPr>
            <a:r>
              <a:rPr lang="en-CA" sz="1100" dirty="0">
                <a:solidFill>
                  <a:schemeClr val="tx1">
                    <a:lumMod val="50000"/>
                    <a:lumOff val="50000"/>
                  </a:schemeClr>
                </a:solidFill>
              </a:rPr>
              <a:t>Please consult your advisor and read the prospectus or Fund Facts document before investing.  There may be commissions, trailing commissions, management fees and expenses associated with mutual fund investments.  Mutual funds are not guaranteed, their values change frequently and past performance may not be repeated. The indicated rates of return are the historical annual compounded total returns for the periods indicated including changes in unit value and reinvestment of all distributions and do not take into account sales, redemption, distribution or optional charges or income taxes payable by any unitholder that would have reduced returns. RBC Funds, BlueBay Funds and PH&amp;N Funds are offered by RBC Global Asset Management Inc. and distributed through authorized dealers in Canada. </a:t>
            </a:r>
          </a:p>
          <a:p>
            <a:pPr>
              <a:spcAft>
                <a:spcPts val="1600"/>
              </a:spcAft>
            </a:pPr>
            <a:r>
              <a:rPr lang="en-US" sz="1100" dirty="0">
                <a:solidFill>
                  <a:schemeClr val="tx1">
                    <a:lumMod val="50000"/>
                    <a:lumOff val="50000"/>
                  </a:schemeClr>
                </a:solidFill>
              </a:rPr>
              <a:t>This document may contain forward-looking statements about a fund or general economic factors which are not guarantees of future performance. Forward-looking statements involve inherent risk and uncertainties, so it is possible that predictions, forecasts, projections and other forward-looking statements will not be achieved. We caution you not to place undue reliance on these statements as a number of important factors could cause actual events or results to differ materially from those expressed or implied in any forward-looking statement. All opinions in forward-looking statements are subject to change without notice and are provided in good faith but without legal responsibility.</a:t>
            </a:r>
          </a:p>
          <a:p>
            <a:pPr>
              <a:spcAft>
                <a:spcPts val="1600"/>
              </a:spcAft>
            </a:pPr>
            <a:r>
              <a:rPr lang="en-CA" sz="1100" dirty="0">
                <a:solidFill>
                  <a:schemeClr val="tx1">
                    <a:lumMod val="50000"/>
                    <a:lumOff val="50000"/>
                  </a:schemeClr>
                </a:solidFill>
              </a:rPr>
              <a:t>Publication Date</a:t>
            </a:r>
            <a:r>
              <a:rPr lang="en-US" sz="1100">
                <a:solidFill>
                  <a:schemeClr val="tx1">
                    <a:lumMod val="50000"/>
                    <a:lumOff val="50000"/>
                  </a:schemeClr>
                </a:solidFill>
              </a:rPr>
              <a:t>: April 3, 2024</a:t>
            </a:r>
            <a:endParaRPr lang="en-US" sz="1100" dirty="0">
              <a:solidFill>
                <a:schemeClr val="tx1">
                  <a:lumMod val="50000"/>
                  <a:lumOff val="50000"/>
                </a:schemeClr>
              </a:solidFill>
            </a:endParaRPr>
          </a:p>
          <a:p>
            <a:pPr>
              <a:spcAft>
                <a:spcPts val="1600"/>
              </a:spcAft>
            </a:pPr>
            <a:r>
              <a:rPr lang="en-US" sz="1100" dirty="0">
                <a:solidFill>
                  <a:schemeClr val="tx1">
                    <a:lumMod val="50000"/>
                    <a:lumOff val="50000"/>
                  </a:schemeClr>
                </a:solidFill>
                <a:ea typeface="Gulim" pitchFamily="34" charset="-127"/>
              </a:rPr>
              <a:t>® / ™ Trademark(s) of Royal Bank of Canada. Used under licence.  © RBC Global Asset Management Inc. 2024</a:t>
            </a:r>
          </a:p>
          <a:p>
            <a:pPr>
              <a:spcAft>
                <a:spcPts val="1600"/>
              </a:spcAft>
            </a:pPr>
            <a:endParaRPr lang="en-US" sz="1200" dirty="0">
              <a:latin typeface="Arial Narrow" panose="020B0606020202030204" pitchFamily="34" charset="0"/>
            </a:endParaRPr>
          </a:p>
        </p:txBody>
      </p:sp>
    </p:spTree>
    <p:extLst>
      <p:ext uri="{BB962C8B-B14F-4D97-AF65-F5344CB8AC3E}">
        <p14:creationId xmlns:p14="http://schemas.microsoft.com/office/powerpoint/2010/main" val="21747419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BC 2018 HNW for all new slides">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Presentation2" id="{6FB7C5E5-8E86-4120-A4EA-D70742AD383B}" vid="{64CA6845-0C7B-4034-8169-1DFB290E0B4F}"/>
    </a:ext>
  </a:extLst>
</a:theme>
</file>

<file path=ppt/theme/theme2.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RBC HNW Colors">
    <a:dk1>
      <a:srgbClr val="000000"/>
    </a:dk1>
    <a:lt1>
      <a:srgbClr val="FFFFFF"/>
    </a:lt1>
    <a:dk2>
      <a:srgbClr val="003168"/>
    </a:dk2>
    <a:lt2>
      <a:srgbClr val="E7EEF1"/>
    </a:lt2>
    <a:accent1>
      <a:srgbClr val="003168"/>
    </a:accent1>
    <a:accent2>
      <a:srgbClr val="FFC72C"/>
    </a:accent2>
    <a:accent3>
      <a:srgbClr val="87AFBF"/>
    </a:accent3>
    <a:accent4>
      <a:srgbClr val="C1B5A5"/>
    </a:accent4>
    <a:accent5>
      <a:srgbClr val="FCA311"/>
    </a:accent5>
    <a:accent6>
      <a:srgbClr val="B8A970"/>
    </a:accent6>
    <a:hlink>
      <a:srgbClr val="87AFBF"/>
    </a:hlink>
    <a:folHlink>
      <a:srgbClr val="B3B6B8"/>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E430AA51E6E1943AA29EFC036E90477" ma:contentTypeVersion="0" ma:contentTypeDescription="Create a new document." ma:contentTypeScope="" ma:versionID="00d968d530310350fbccbbeb1cb196f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VariableListDefinition name="AD_HOC" displayName="AD_HOC" id="dd44cc32-a9ef-4b9a-9420-e413a5f059a5" isdomainofvalue="False" dataSourceId="0faa9b60-5139-4226-b502-f44a545abb3d"/>
</file>

<file path=customXml/item4.xml><?xml version="1.0" encoding="utf-8"?>
<VariableList UniqueId="dd44cc32-a9ef-4b9a-9420-e413a5f059a5" Name="AD_HOC" ContentType="XML" MajorVersion="0" MinorVersion="1" isLocalCopy="False" IsBaseObject="False" DataSourceId="0faa9b60-5139-4226-b502-f44a545abb3d" DataSourceMajorVersion="0" DataSourceMinorVersion="1"/>
</file>

<file path=customXml/item5.xml><?xml version="1.0" encoding="utf-8"?>
<VariableListDefinition name="Computed" displayName="Computed" id="2be88a6f-b7b1-49f6-85d0-40a3764a67de" isdomainofvalue="False" dataSourceId="e13d199f-52fe-42f2-8fa1-4a4aa4917116"/>
</file>

<file path=customXml/item6.xml><?xml version="1.0" encoding="utf-8"?>
<VariableList UniqueId="2be88a6f-b7b1-49f6-85d0-40a3764a67de" Name="Computed" ContentType="XML" MajorVersion="0" MinorVersion="1" isLocalCopy="False" IsBaseObject="False" DataSourceId="e13d199f-52fe-42f2-8fa1-4a4aa4917116" DataSourceMajorVersion="0" DataSourceMinorVersion="1"/>
</file>

<file path=customXml/item7.xml><?xml version="1.0" encoding="utf-8"?>
<VariableListDefinition name="System" displayName="System" id="2d1605dd-5982-4126-8922-a04838eb7c0a" isdomainofvalue="False" dataSourceId="5ef5d469-847d-4894-9d2e-3dc0b4bb019d"/>
</file>

<file path=customXml/item8.xml><?xml version="1.0" encoding="utf-8"?>
<VariableList UniqueId="2d1605dd-5982-4126-8922-a04838eb7c0a" Name="System" ContentType="XML" MajorVersion="0" MinorVersion="1" isLocalCopy="False" IsBaseObject="False" DataSourceId="5ef5d469-847d-4894-9d2e-3dc0b4bb019d" DataSourceMajorVersion="0" DataSourceMinorVersion="1"/>
</file>

<file path=customXml/item9.xml><?xml version="1.0" encoding="utf-8"?>
<AllExternalAdhocVariableMappings/>
</file>

<file path=customXml/itemProps1.xml><?xml version="1.0" encoding="utf-8"?>
<ds:datastoreItem xmlns:ds="http://schemas.openxmlformats.org/officeDocument/2006/customXml" ds:itemID="{5FC52444-330D-46E5-BB05-F0EDD3D5A944}">
  <ds:schemaRefs>
    <ds:schemaRef ds:uri="http://schemas.microsoft.com/sharepoint/v3/contenttype/forms"/>
  </ds:schemaRefs>
</ds:datastoreItem>
</file>

<file path=customXml/itemProps10.xml><?xml version="1.0" encoding="utf-8"?>
<ds:datastoreItem xmlns:ds="http://schemas.openxmlformats.org/officeDocument/2006/customXml" ds:itemID="{30FFB761-B03B-43DA-A366-AD86EFEB6FF5}">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4A5FD9E-AD80-4E16-A3FB-BC6478159C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D0151694-0531-4277-8B02-CC28E9680BAF}">
  <ds:schemaRefs/>
</ds:datastoreItem>
</file>

<file path=customXml/itemProps4.xml><?xml version="1.0" encoding="utf-8"?>
<ds:datastoreItem xmlns:ds="http://schemas.openxmlformats.org/officeDocument/2006/customXml" ds:itemID="{253A51B5-58B4-43E0-8784-E6F5470FE0DA}">
  <ds:schemaRefs/>
</ds:datastoreItem>
</file>

<file path=customXml/itemProps5.xml><?xml version="1.0" encoding="utf-8"?>
<ds:datastoreItem xmlns:ds="http://schemas.openxmlformats.org/officeDocument/2006/customXml" ds:itemID="{219D3031-81EF-4913-86B4-43F8E0FE14FD}">
  <ds:schemaRefs/>
</ds:datastoreItem>
</file>

<file path=customXml/itemProps6.xml><?xml version="1.0" encoding="utf-8"?>
<ds:datastoreItem xmlns:ds="http://schemas.openxmlformats.org/officeDocument/2006/customXml" ds:itemID="{BCB37878-3987-4F45-8EEB-02C26740BEF4}">
  <ds:schemaRefs/>
</ds:datastoreItem>
</file>

<file path=customXml/itemProps7.xml><?xml version="1.0" encoding="utf-8"?>
<ds:datastoreItem xmlns:ds="http://schemas.openxmlformats.org/officeDocument/2006/customXml" ds:itemID="{28F73599-2CE0-4255-8763-B086769531D6}">
  <ds:schemaRefs/>
</ds:datastoreItem>
</file>

<file path=customXml/itemProps8.xml><?xml version="1.0" encoding="utf-8"?>
<ds:datastoreItem xmlns:ds="http://schemas.openxmlformats.org/officeDocument/2006/customXml" ds:itemID="{80FD9C2E-D592-4B9C-BE5E-C90B490E8951}">
  <ds:schemaRefs/>
</ds:datastoreItem>
</file>

<file path=customXml/itemProps9.xml><?xml version="1.0" encoding="utf-8"?>
<ds:datastoreItem xmlns:ds="http://schemas.openxmlformats.org/officeDocument/2006/customXml" ds:itemID="{D594B69D-E1B6-495E-AFD2-F9D27A48E1E1}">
  <ds:schemaRefs/>
</ds:datastoreItem>
</file>

<file path=docProps/app.xml><?xml version="1.0" encoding="utf-8"?>
<Properties xmlns="http://schemas.openxmlformats.org/officeDocument/2006/extended-properties" xmlns:vt="http://schemas.openxmlformats.org/officeDocument/2006/docPropsVTypes">
  <Template>PowerPoint Template 16x9</Template>
  <TotalTime>27048</TotalTime>
  <Words>1500</Words>
  <Application>Microsoft Office PowerPoint</Application>
  <PresentationFormat>Widescreen</PresentationFormat>
  <Paragraphs>126</Paragraphs>
  <Slides>6</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Arial Narrow</vt:lpstr>
      <vt:lpstr>Calibri Light</vt:lpstr>
      <vt:lpstr>RBC 2018 HNW for all new slides</vt:lpstr>
      <vt:lpstr>think-cell Slide</vt:lpstr>
      <vt:lpstr>Charts of interest</vt:lpstr>
      <vt:lpstr>Timing the market can be costly</vt:lpstr>
      <vt:lpstr>Time narrows your range of returns</vt:lpstr>
      <vt:lpstr>Fixed income diversification benefits</vt:lpstr>
      <vt:lpstr>Over time, equities can keep you above the inflation waterline</vt:lpstr>
      <vt:lpstr>Disclosure</vt:lpstr>
    </vt:vector>
  </TitlesOfParts>
  <Company>RB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wler, Alex</dc:creator>
  <dc:description>Version 1.00
Job 1544
Oct. 16, 2018</dc:description>
  <cp:lastModifiedBy>Gonsalves, Kaileigh</cp:lastModifiedBy>
  <cp:revision>485</cp:revision>
  <cp:lastPrinted>2018-10-16T15:43:38Z</cp:lastPrinted>
  <dcterms:created xsi:type="dcterms:W3CDTF">2022-04-04T15:59:11Z</dcterms:created>
  <dcterms:modified xsi:type="dcterms:W3CDTF">2024-04-03T19:0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430AA51E6E1943AA29EFC036E90477</vt:lpwstr>
  </property>
  <property fmtid="{D5CDD505-2E9C-101B-9397-08002B2CF9AE}" pid="3" name="Classification">
    <vt:lpwstr>TT_Public</vt:lpwstr>
  </property>
</Properties>
</file>